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1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3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4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5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6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7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18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9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20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theme/theme21.xml" ContentType="application/vnd.openxmlformats-officedocument.theme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22.xml" ContentType="application/vnd.openxmlformats-officedocument.theme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23.xml" ContentType="application/vnd.openxmlformats-officedocument.theme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24.xml" ContentType="application/vnd.openxmlformats-officedocument.theme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heme/theme25.xml" ContentType="application/vnd.openxmlformats-officedocument.theme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26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theme/theme27.xml" ContentType="application/vnd.openxmlformats-officedocument.theme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theme/theme28.xml" ContentType="application/vnd.openxmlformats-officedocument.theme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theme/theme2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47.xml" ContentType="application/vnd.openxmlformats-officedocument.presentationml.slideLayout+xml"/>
  <Override PartName="/ppt/theme/theme30.xml" ContentType="application/vnd.openxmlformats-officedocument.theme+xml"/>
  <Override PartName="/ppt/theme/theme31.xml" ContentType="application/vnd.openxmlformats-officedocument.theme+xml"/>
  <Override PartName="/ppt/theme/theme3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1"/>
    <p:sldMasterId id="2147483671" r:id="rId2"/>
    <p:sldMasterId id="2147483675" r:id="rId3"/>
    <p:sldMasterId id="2147483663" r:id="rId4"/>
    <p:sldMasterId id="2147483716" r:id="rId5"/>
    <p:sldMasterId id="2147483732" r:id="rId6"/>
    <p:sldMasterId id="2147483748" r:id="rId7"/>
    <p:sldMasterId id="2147483775" r:id="rId8"/>
    <p:sldMasterId id="2147483812" r:id="rId9"/>
    <p:sldMasterId id="2147483824" r:id="rId10"/>
    <p:sldMasterId id="2147483837" r:id="rId11"/>
    <p:sldMasterId id="2147483849" r:id="rId12"/>
    <p:sldMasterId id="2147483865" r:id="rId13"/>
    <p:sldMasterId id="2147483900" r:id="rId14"/>
    <p:sldMasterId id="2147483932" r:id="rId15"/>
    <p:sldMasterId id="2147483961" r:id="rId16"/>
    <p:sldMasterId id="2147483975" r:id="rId17"/>
    <p:sldMasterId id="2147483978" r:id="rId18"/>
    <p:sldMasterId id="2147483993" r:id="rId19"/>
    <p:sldMasterId id="2147484027" r:id="rId20"/>
    <p:sldMasterId id="2147484059" r:id="rId21"/>
    <p:sldMasterId id="2147484081" r:id="rId22"/>
    <p:sldMasterId id="2147484088" r:id="rId23"/>
    <p:sldMasterId id="2147484157" r:id="rId24"/>
    <p:sldMasterId id="2147484191" r:id="rId25"/>
    <p:sldMasterId id="2147484216" r:id="rId26"/>
    <p:sldMasterId id="2147484229" r:id="rId27"/>
    <p:sldMasterId id="2147484241" r:id="rId28"/>
    <p:sldMasterId id="2147484245" r:id="rId29"/>
    <p:sldMasterId id="2147484248" r:id="rId30"/>
  </p:sldMasterIdLst>
  <p:notesMasterIdLst>
    <p:notesMasterId r:id="rId35"/>
  </p:notesMasterIdLst>
  <p:handoutMasterIdLst>
    <p:handoutMasterId r:id="rId36"/>
  </p:handoutMasterIdLst>
  <p:sldIdLst>
    <p:sldId id="327" r:id="rId31"/>
    <p:sldId id="2134806150" r:id="rId32"/>
    <p:sldId id="2134806149" r:id="rId33"/>
    <p:sldId id="1323" r:id="rId34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ida Garcia Rodriguez" initials="AGR [2]" lastIdx="14" clrIdx="6">
    <p:extLst>
      <p:ext uri="{19B8F6BF-5375-455C-9EA6-DF929625EA0E}">
        <p15:presenceInfo xmlns:p15="http://schemas.microsoft.com/office/powerpoint/2012/main" userId="S::garcia@emeaa.net::aaf0bfb1-5e14-46f5-86fa-da69db29373c" providerId="AD"/>
      </p:ext>
    </p:extLst>
  </p:cmAuthor>
  <p:cmAuthor id="1" name="Cillian O'Donoghue" initials="CO" lastIdx="184" clrIdx="0">
    <p:extLst>
      <p:ext uri="{19B8F6BF-5375-455C-9EA6-DF929625EA0E}">
        <p15:presenceInfo xmlns:p15="http://schemas.microsoft.com/office/powerpoint/2012/main" userId="S-1-5-21-1559989808-905910579-3827599598-1285" providerId="AD"/>
      </p:ext>
    </p:extLst>
  </p:cmAuthor>
  <p:cmAuthor id="8" name="Cillian O'Donoghue" initials="CO [2]" lastIdx="57" clrIdx="7">
    <p:extLst>
      <p:ext uri="{19B8F6BF-5375-455C-9EA6-DF929625EA0E}">
        <p15:presenceInfo xmlns:p15="http://schemas.microsoft.com/office/powerpoint/2012/main" userId="S::odonoghue@emeaa.net::df3ab46f-5e48-4f84-8155-6ba2d8267c91" providerId="AD"/>
      </p:ext>
    </p:extLst>
  </p:cmAuthor>
  <p:cmAuthor id="2" name="Giulia Cancian" initials="GC" lastIdx="2" clrIdx="1">
    <p:extLst>
      <p:ext uri="{19B8F6BF-5375-455C-9EA6-DF929625EA0E}">
        <p15:presenceInfo xmlns:p15="http://schemas.microsoft.com/office/powerpoint/2012/main" userId="S-1-5-21-1559989808-905910579-3827599598-1286" providerId="AD"/>
      </p:ext>
    </p:extLst>
  </p:cmAuthor>
  <p:cmAuthor id="3" name="David Rose" initials="DR" lastIdx="7" clrIdx="2">
    <p:extLst>
      <p:ext uri="{19B8F6BF-5375-455C-9EA6-DF929625EA0E}">
        <p15:presenceInfo xmlns:p15="http://schemas.microsoft.com/office/powerpoint/2012/main" userId="32bb075927540db4" providerId="Windows Live"/>
      </p:ext>
    </p:extLst>
  </p:cmAuthor>
  <p:cmAuthor id="4" name="Einar Sælen" initials="ES" lastIdx="1" clrIdx="3">
    <p:extLst>
      <p:ext uri="{19B8F6BF-5375-455C-9EA6-DF929625EA0E}">
        <p15:presenceInfo xmlns:p15="http://schemas.microsoft.com/office/powerpoint/2012/main" userId="Einar Sælen" providerId="None"/>
      </p:ext>
    </p:extLst>
  </p:cmAuthor>
  <p:cmAuthor id="5" name="Aida Garcia Rodriguez" initials="AGR" lastIdx="16" clrIdx="4">
    <p:extLst>
      <p:ext uri="{19B8F6BF-5375-455C-9EA6-DF929625EA0E}">
        <p15:presenceInfo xmlns:p15="http://schemas.microsoft.com/office/powerpoint/2012/main" userId="S-1-5-21-1559989808-905910579-3827599598-1339" providerId="AD"/>
      </p:ext>
    </p:extLst>
  </p:cmAuthor>
  <p:cmAuthor id="6" name="Einar Sælen" initials="ES [2]" lastIdx="18" clrIdx="5">
    <p:extLst>
      <p:ext uri="{19B8F6BF-5375-455C-9EA6-DF929625EA0E}">
        <p15:presenceInfo xmlns:p15="http://schemas.microsoft.com/office/powerpoint/2012/main" userId="S-1-5-21-3477387610-370801594-1294208057-258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1F4"/>
    <a:srgbClr val="9CC6E1"/>
    <a:srgbClr val="E1E6ED"/>
    <a:srgbClr val="A5B6C2"/>
    <a:srgbClr val="D5DDE3"/>
    <a:srgbClr val="6D5141"/>
    <a:srgbClr val="0094A2"/>
    <a:srgbClr val="EAECEC"/>
    <a:srgbClr val="A2A3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4125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528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184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5454"/>
    </p:cViewPr>
  </p:sorterViewPr>
  <p:notesViewPr>
    <p:cSldViewPr snapToGrid="0" snapToObjects="1">
      <p:cViewPr varScale="1">
        <p:scale>
          <a:sx n="51" d="100"/>
          <a:sy n="51" d="100"/>
        </p:scale>
        <p:origin x="2704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viewProps" Target="viewProps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4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2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3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170138" cy="481028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8" y="2"/>
            <a:ext cx="3170138" cy="481028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r">
              <a:defRPr sz="1100"/>
            </a:lvl1pPr>
          </a:lstStyle>
          <a:p>
            <a:fld id="{C3AD8780-7C6E-49ED-A362-09857C018FE3}" type="datetimeFigureOut">
              <a:rPr lang="en-GB" smtClean="0"/>
              <a:t>11/03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120173"/>
            <a:ext cx="3170138" cy="481028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8" y="9120173"/>
            <a:ext cx="3170138" cy="481028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r">
              <a:defRPr sz="1100"/>
            </a:lvl1pPr>
          </a:lstStyle>
          <a:p>
            <a:fld id="{D21156A2-708C-46B0-8A1D-5059761BCA7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20446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169920" cy="481728"/>
          </a:xfrm>
          <a:prstGeom prst="rect">
            <a:avLst/>
          </a:prstGeom>
        </p:spPr>
        <p:txBody>
          <a:bodyPr vert="horz" lIns="95058" tIns="47530" rIns="95058" bIns="47530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2"/>
            <a:ext cx="3169920" cy="481728"/>
          </a:xfrm>
          <a:prstGeom prst="rect">
            <a:avLst/>
          </a:prstGeom>
        </p:spPr>
        <p:txBody>
          <a:bodyPr vert="horz" lIns="95058" tIns="47530" rIns="95058" bIns="47530" rtlCol="0"/>
          <a:lstStyle>
            <a:lvl1pPr algn="r">
              <a:defRPr sz="1100"/>
            </a:lvl1pPr>
          </a:lstStyle>
          <a:p>
            <a:fld id="{40324314-8822-AB4F-9288-AF41D5EA44A3}" type="datetimeFigureOut">
              <a:rPr lang="en-US" smtClean="0"/>
              <a:t>3/1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1201738"/>
            <a:ext cx="5756275" cy="3238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58" tIns="47530" rIns="95058" bIns="4753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80"/>
            <a:ext cx="5852160" cy="3780472"/>
          </a:xfrm>
          <a:prstGeom prst="rect">
            <a:avLst/>
          </a:prstGeom>
        </p:spPr>
        <p:txBody>
          <a:bodyPr vert="horz" lIns="95058" tIns="47530" rIns="95058" bIns="4753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477"/>
            <a:ext cx="3169920" cy="481727"/>
          </a:xfrm>
          <a:prstGeom prst="rect">
            <a:avLst/>
          </a:prstGeom>
        </p:spPr>
        <p:txBody>
          <a:bodyPr vert="horz" lIns="95058" tIns="47530" rIns="95058" bIns="47530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7"/>
            <a:ext cx="3169920" cy="481727"/>
          </a:xfrm>
          <a:prstGeom prst="rect">
            <a:avLst/>
          </a:prstGeom>
        </p:spPr>
        <p:txBody>
          <a:bodyPr vert="horz" lIns="95058" tIns="47530" rIns="95058" bIns="47530" rtlCol="0" anchor="b"/>
          <a:lstStyle>
            <a:lvl1pPr algn="r">
              <a:defRPr sz="1100"/>
            </a:lvl1pPr>
          </a:lstStyle>
          <a:p>
            <a:fld id="{8DA30FDB-C26C-AC48-8F40-73B7F5B184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868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day,</a:t>
            </a:r>
            <a:r>
              <a:rPr lang="en-US" baseline="0" dirty="0"/>
              <a:t> I will cover 5 main topics </a:t>
            </a:r>
          </a:p>
          <a:p>
            <a:endParaRPr lang="en-US" baseline="0" dirty="0"/>
          </a:p>
          <a:p>
            <a:pPr marL="228600" indent="-228600">
              <a:buAutoNum type="arabicParenR"/>
            </a:pPr>
            <a:r>
              <a:rPr lang="en-US" baseline="0" dirty="0"/>
              <a:t>An introduction to some of the specificities of our sector </a:t>
            </a:r>
          </a:p>
          <a:p>
            <a:pPr marL="228600" indent="-228600">
              <a:buAutoNum type="arabicParenR"/>
            </a:pPr>
            <a:r>
              <a:rPr lang="en-US" baseline="0" dirty="0"/>
              <a:t>Indirect carbon costs – biggest issue I work on and the biggest challenge facing our sector in terms of Climate &amp; Energy policy </a:t>
            </a:r>
          </a:p>
          <a:p>
            <a:pPr marL="228600" indent="-228600">
              <a:buAutoNum type="arabicParenR"/>
            </a:pPr>
            <a:r>
              <a:rPr lang="en-US" baseline="0" dirty="0"/>
              <a:t>We can do quite well from the transition, both in terms of demand for our products, </a:t>
            </a:r>
            <a:r>
              <a:rPr lang="en-US" baseline="0" dirty="0" err="1"/>
              <a:t>etc</a:t>
            </a:r>
            <a:r>
              <a:rPr lang="en-US" baseline="0" dirty="0"/>
              <a:t> </a:t>
            </a:r>
          </a:p>
          <a:p>
            <a:pPr marL="228600" indent="-228600">
              <a:buAutoNum type="arabicParenR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30FDB-C26C-AC48-8F40-73B7F5B184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0267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30FDB-C26C-AC48-8F40-73B7F5B1846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4084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emf"/><Relationship Id="rId4" Type="http://schemas.openxmlformats.org/officeDocument/2006/relationships/image" Target="../media/image3.pn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emf"/><Relationship Id="rId4" Type="http://schemas.openxmlformats.org/officeDocument/2006/relationships/image" Target="../media/image5.pn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emf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8.emf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1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8.emf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4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24.png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8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8.xml"/></Relationships>
</file>

<file path=ppt/slideLayouts/_rels/slideLayout3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0.jpeg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18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emf"/><Relationship Id="rId9" Type="http://schemas.openxmlformats.org/officeDocument/2006/relationships/image" Target="../media/image32.PNG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9.xml"/><Relationship Id="rId1" Type="http://schemas.openxmlformats.org/officeDocument/2006/relationships/tags" Target="../tags/tag19.xml"/><Relationship Id="rId4" Type="http://schemas.openxmlformats.org/officeDocument/2006/relationships/image" Target="../media/image33.emf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5688699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6885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0024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3409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54404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4945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6469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4565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4710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60157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6255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3945206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97086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6472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40741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9086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8410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23666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7818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92816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51427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3837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0749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5039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4939" userDrawn="1">
          <p15:clr>
            <a:srgbClr val="FBAE40"/>
          </p15:clr>
        </p15:guide>
        <p15:guide id="3" pos="5301" userDrawn="1">
          <p15:clr>
            <a:srgbClr val="FBAE40"/>
          </p15:clr>
        </p15:guide>
        <p15:guide id="4" orient="horz" pos="3793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398350621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042235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22138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47949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14429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7881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9026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27088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79472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284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48793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52747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472488" y="1219200"/>
            <a:ext cx="110744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800" kern="120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>
              <a:defRPr lang="en-US" sz="135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</a:lstStyle>
          <a:p>
            <a:pPr marL="169069" lvl="0" indent="-16906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Click to edit Master text styles</a:t>
            </a:r>
          </a:p>
          <a:p>
            <a:pPr marL="347663" lvl="1" indent="-173831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Second level</a:t>
            </a:r>
          </a:p>
          <a:p>
            <a:pPr marL="466725" lvl="2" indent="-119063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•"/>
            </a:pPr>
            <a:r>
              <a:rPr lang="en-US" dirty="0"/>
              <a:t>Third level</a:t>
            </a:r>
          </a:p>
          <a:p>
            <a:pPr marL="646510" lvl="3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Fourth level</a:t>
            </a:r>
          </a:p>
          <a:p>
            <a:pPr marL="815579" lvl="4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93088" y="542925"/>
            <a:ext cx="9107917" cy="6258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831765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650" baseline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4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1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7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85764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15934284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9343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80495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48629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65519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5650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9035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Cover Optio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190040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2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9317"/>
            <a:ext cx="12192000" cy="3029712"/>
          </a:xfrm>
          <a:prstGeom prst="rect">
            <a:avLst/>
          </a:prstGeom>
        </p:spPr>
      </p:pic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6" y="4432559"/>
            <a:ext cx="10515601" cy="415498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algn="r"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1"/>
            <a:ext cx="12192000" cy="59950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4832561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786" y="278139"/>
            <a:ext cx="3083935" cy="10967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254" y="6328461"/>
            <a:ext cx="11029693" cy="2994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8253" y="147353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14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9689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1757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26777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36910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184669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4939" userDrawn="1">
          <p15:clr>
            <a:srgbClr val="FBAE40"/>
          </p15:clr>
        </p15:guide>
        <p15:guide id="3" pos="5301" userDrawn="1">
          <p15:clr>
            <a:srgbClr val="FBAE40"/>
          </p15:clr>
        </p15:guide>
        <p15:guide id="4" orient="horz" pos="3793" userDrawn="1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84B77-7AC2-4088-902B-0B22A70E27D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80114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25668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ener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672374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aux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803291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nerg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57180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Cov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638369"/>
            <a:ext cx="10515600" cy="22332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84575"/>
            <a:ext cx="10515600" cy="33239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algn="r"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9317"/>
            <a:ext cx="12192000" cy="30297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786" y="278139"/>
            <a:ext cx="3083935" cy="109674"/>
          </a:xfrm>
          <a:prstGeom prst="rect">
            <a:avLst/>
          </a:prstGeom>
        </p:spPr>
      </p:pic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5271659"/>
            <a:ext cx="10515443" cy="304037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8253" y="147353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51486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rimar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69337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oll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603919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xtru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70291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727285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040952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327301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766324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tx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351670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7"/>
            <a:ext cx="6594219" cy="3015049"/>
          </a:xfrm>
        </p:spPr>
        <p:txBody>
          <a:bodyPr anchor="t"/>
          <a:lstStyle>
            <a:lvl1pPr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7" y="5696675"/>
            <a:ext cx="6594219" cy="72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2570205"/>
            <a:ext cx="1785980" cy="930876"/>
          </a:xfrm>
        </p:spPr>
        <p:txBody>
          <a:bodyPr/>
          <a:lstStyle>
            <a:lvl1pPr marL="0" indent="0">
              <a:buNone/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32200334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7"/>
            <a:ext cx="6594219" cy="3015049"/>
          </a:xfrm>
        </p:spPr>
        <p:txBody>
          <a:bodyPr anchor="t"/>
          <a:lstStyle>
            <a:lvl1pPr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7" y="5696675"/>
            <a:ext cx="6594219" cy="72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2570205"/>
            <a:ext cx="1785980" cy="930876"/>
          </a:xfrm>
        </p:spPr>
        <p:txBody>
          <a:bodyPr/>
          <a:lstStyle>
            <a:lvl1pPr marL="0" indent="0">
              <a:buNone/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263891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09372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916230"/>
            <a:ext cx="2099653" cy="222840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245" y="375954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547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7"/>
            <a:ext cx="6594219" cy="3015049"/>
          </a:xfrm>
        </p:spPr>
        <p:txBody>
          <a:bodyPr anchor="t"/>
          <a:lstStyle>
            <a:lvl1pPr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7" y="5696675"/>
            <a:ext cx="6594219" cy="72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2570205"/>
            <a:ext cx="1785980" cy="930876"/>
          </a:xfrm>
        </p:spPr>
        <p:txBody>
          <a:bodyPr/>
          <a:lstStyle>
            <a:lvl1pPr marL="0" indent="0">
              <a:buNone/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47138955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7"/>
            <a:ext cx="6594219" cy="3015049"/>
          </a:xfrm>
        </p:spPr>
        <p:txBody>
          <a:bodyPr anchor="t"/>
          <a:lstStyle>
            <a:lvl1pPr>
              <a:defRPr sz="465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7" y="5696675"/>
            <a:ext cx="6594219" cy="72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2570205"/>
            <a:ext cx="1785980" cy="930876"/>
          </a:xfrm>
        </p:spPr>
        <p:txBody>
          <a:bodyPr/>
          <a:lstStyle>
            <a:lvl1pPr marL="0" indent="0">
              <a:buNone/>
              <a:defRPr sz="465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30889345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39DAFB-6B33-49DF-979F-AB87C296E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BD80E7-6C8E-4D5E-98A7-BB756D1A52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891101-3C1C-4849-B694-1674691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2EEBD-1E98-4113-A6A2-AD4A240D3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C24607-BCE5-46D7-8B24-8D98CAC5F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3C7F9E-972C-48C9-9FE1-5AE34014CE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1623934-660F-4E16-AC62-252CCB4F8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2302689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989140"/>
            <a:ext cx="5364163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5812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8" userDrawn="1">
          <p15:clr>
            <a:srgbClr val="FBAE40"/>
          </p15:clr>
        </p15:guide>
        <p15:guide id="2" pos="5332" userDrawn="1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3421064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3726" y="1989140"/>
            <a:ext cx="3384551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E39D267-9198-47E5-9B35-62F3F9ACD9E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291514" y="1989140"/>
            <a:ext cx="3421063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1901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6" userDrawn="1">
          <p15:clr>
            <a:srgbClr val="FBAE40"/>
          </p15:clr>
        </p15:guide>
        <p15:guide id="2" pos="3699" userDrawn="1">
          <p15:clr>
            <a:srgbClr val="FBAE40"/>
          </p15:clr>
        </p15:guide>
        <p15:guide id="3" pos="6541" userDrawn="1">
          <p15:clr>
            <a:srgbClr val="FBAE40"/>
          </p15:clr>
        </p15:guide>
        <p15:guide id="4" pos="6964" userDrawn="1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7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5364163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24092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2" userDrawn="1">
          <p15:clr>
            <a:srgbClr val="FBAE40"/>
          </p15:clr>
        </p15:guide>
        <p15:guide id="2" pos="4908" userDrawn="1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3" y="441327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2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3" y="981075"/>
            <a:ext cx="5364163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3" y="6165852"/>
            <a:ext cx="454104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876065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2" userDrawn="1">
          <p15:clr>
            <a:srgbClr val="FBAE40"/>
          </p15:clr>
        </p15:guide>
        <p15:guide id="2" pos="4908" userDrawn="1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7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5364163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3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760293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8" userDrawn="1">
          <p15:clr>
            <a:srgbClr val="FBAE40"/>
          </p15:clr>
        </p15:guide>
        <p15:guide id="2" pos="5332" userDrawn="1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5" y="441327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3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5" y="981075"/>
            <a:ext cx="5364163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6" y="6165852"/>
            <a:ext cx="4541041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59947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8" userDrawn="1">
          <p15:clr>
            <a:srgbClr val="FBAE40"/>
          </p15:clr>
        </p15:guide>
        <p15:guide id="2" pos="5332" userDrawn="1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99E59-0FD0-4C3E-A9C4-0CD1423DD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DE37A7-F8DA-4780-8E36-C3FC3301A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25D5BD-BB8E-4FBE-B016-3CABEC02E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88892E5-1737-4DC9-9234-BFC944612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FAB94BC-6B2D-4DD9-B4CC-7FE2D8E85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CF44C50-B85B-4B46-BE46-2E5252CBA0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9443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97996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503091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825615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9403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3EDC29F-806E-41D8-8B76-2A376F14F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6" y="5384800"/>
            <a:ext cx="11233151" cy="781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595534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080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DC473AA6-D9EF-4CFC-92B3-E9AEBE6BFE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168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id="{B78FF7BB-52BA-46DA-B9EB-95E8C58644F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1439" y="1931309"/>
            <a:ext cx="1889125" cy="2555875"/>
            <a:chOff x="3245" y="1308"/>
            <a:chExt cx="1190" cy="1610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C32C34FE-B266-41B3-99FD-10A6A3BB60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5" y="2082"/>
              <a:ext cx="261" cy="332"/>
            </a:xfrm>
            <a:custGeom>
              <a:avLst/>
              <a:gdLst>
                <a:gd name="T0" fmla="*/ 59 w 261"/>
                <a:gd name="T1" fmla="*/ 186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6 h 332"/>
                <a:gd name="T24" fmla="*/ 59 w 261"/>
                <a:gd name="T25" fmla="*/ 186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6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6"/>
                  </a:lnTo>
                  <a:lnTo>
                    <a:pt x="59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4AA8273-7C2A-4952-AF3B-2788676D6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9" y="2170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4108DB83-089F-4451-A0B4-8FA566C499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4" y="2082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0C10B8BB-C7A6-43F7-A731-7F4C2FD63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1" y="2163"/>
              <a:ext cx="125" cy="251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1A95C0A-7801-459A-82FF-F3100804E8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81" y="2161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EA367DC1-733B-4ED9-B170-8E5AEA94D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29" y="1308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E2240389-001B-45C7-85B9-467EB92E4A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47" y="2809"/>
              <a:ext cx="1188" cy="109"/>
            </a:xfrm>
            <a:custGeom>
              <a:avLst/>
              <a:gdLst>
                <a:gd name="T0" fmla="*/ 652 w 687"/>
                <a:gd name="T1" fmla="*/ 24 h 63"/>
                <a:gd name="T2" fmla="*/ 662 w 687"/>
                <a:gd name="T3" fmla="*/ 30 h 63"/>
                <a:gd name="T4" fmla="*/ 673 w 687"/>
                <a:gd name="T5" fmla="*/ 62 h 63"/>
                <a:gd name="T6" fmla="*/ 668 w 687"/>
                <a:gd name="T7" fmla="*/ 18 h 63"/>
                <a:gd name="T8" fmla="*/ 637 w 687"/>
                <a:gd name="T9" fmla="*/ 17 h 63"/>
                <a:gd name="T10" fmla="*/ 617 w 687"/>
                <a:gd name="T11" fmla="*/ 17 h 63"/>
                <a:gd name="T12" fmla="*/ 588 w 687"/>
                <a:gd name="T13" fmla="*/ 56 h 63"/>
                <a:gd name="T14" fmla="*/ 575 w 687"/>
                <a:gd name="T15" fmla="*/ 43 h 63"/>
                <a:gd name="T16" fmla="*/ 559 w 687"/>
                <a:gd name="T17" fmla="*/ 62 h 63"/>
                <a:gd name="T18" fmla="*/ 559 w 687"/>
                <a:gd name="T19" fmla="*/ 62 h 63"/>
                <a:gd name="T20" fmla="*/ 563 w 687"/>
                <a:gd name="T21" fmla="*/ 9 h 63"/>
                <a:gd name="T22" fmla="*/ 537 w 687"/>
                <a:gd name="T23" fmla="*/ 24 h 63"/>
                <a:gd name="T24" fmla="*/ 546 w 687"/>
                <a:gd name="T25" fmla="*/ 27 h 63"/>
                <a:gd name="T26" fmla="*/ 513 w 687"/>
                <a:gd name="T27" fmla="*/ 17 h 63"/>
                <a:gd name="T28" fmla="*/ 493 w 687"/>
                <a:gd name="T29" fmla="*/ 17 h 63"/>
                <a:gd name="T30" fmla="*/ 504 w 687"/>
                <a:gd name="T31" fmla="*/ 0 h 63"/>
                <a:gd name="T32" fmla="*/ 424 w 687"/>
                <a:gd name="T33" fmla="*/ 41 h 63"/>
                <a:gd name="T34" fmla="*/ 444 w 687"/>
                <a:gd name="T35" fmla="*/ 32 h 63"/>
                <a:gd name="T36" fmla="*/ 466 w 687"/>
                <a:gd name="T37" fmla="*/ 22 h 63"/>
                <a:gd name="T38" fmla="*/ 478 w 687"/>
                <a:gd name="T39" fmla="*/ 33 h 63"/>
                <a:gd name="T40" fmla="*/ 449 w 687"/>
                <a:gd name="T41" fmla="*/ 18 h 63"/>
                <a:gd name="T42" fmla="*/ 412 w 687"/>
                <a:gd name="T43" fmla="*/ 62 h 63"/>
                <a:gd name="T44" fmla="*/ 397 w 687"/>
                <a:gd name="T45" fmla="*/ 36 h 63"/>
                <a:gd name="T46" fmla="*/ 373 w 687"/>
                <a:gd name="T47" fmla="*/ 51 h 63"/>
                <a:gd name="T48" fmla="*/ 369 w 687"/>
                <a:gd name="T49" fmla="*/ 60 h 63"/>
                <a:gd name="T50" fmla="*/ 364 w 687"/>
                <a:gd name="T51" fmla="*/ 0 h 63"/>
                <a:gd name="T52" fmla="*/ 319 w 687"/>
                <a:gd name="T53" fmla="*/ 55 h 63"/>
                <a:gd name="T54" fmla="*/ 319 w 687"/>
                <a:gd name="T55" fmla="*/ 41 h 63"/>
                <a:gd name="T56" fmla="*/ 333 w 687"/>
                <a:gd name="T57" fmla="*/ 56 h 63"/>
                <a:gd name="T58" fmla="*/ 308 w 687"/>
                <a:gd name="T59" fmla="*/ 20 h 63"/>
                <a:gd name="T60" fmla="*/ 330 w 687"/>
                <a:gd name="T61" fmla="*/ 28 h 63"/>
                <a:gd name="T62" fmla="*/ 296 w 687"/>
                <a:gd name="T63" fmla="*/ 50 h 63"/>
                <a:gd name="T64" fmla="*/ 239 w 687"/>
                <a:gd name="T65" fmla="*/ 25 h 63"/>
                <a:gd name="T66" fmla="*/ 239 w 687"/>
                <a:gd name="T67" fmla="*/ 25 h 63"/>
                <a:gd name="T68" fmla="*/ 265 w 687"/>
                <a:gd name="T69" fmla="*/ 41 h 63"/>
                <a:gd name="T70" fmla="*/ 224 w 687"/>
                <a:gd name="T71" fmla="*/ 44 h 63"/>
                <a:gd name="T72" fmla="*/ 255 w 687"/>
                <a:gd name="T73" fmla="*/ 47 h 63"/>
                <a:gd name="T74" fmla="*/ 223 w 687"/>
                <a:gd name="T75" fmla="*/ 25 h 63"/>
                <a:gd name="T76" fmla="*/ 203 w 687"/>
                <a:gd name="T77" fmla="*/ 17 h 63"/>
                <a:gd name="T78" fmla="*/ 155 w 687"/>
                <a:gd name="T79" fmla="*/ 55 h 63"/>
                <a:gd name="T80" fmla="*/ 178 w 687"/>
                <a:gd name="T81" fmla="*/ 39 h 63"/>
                <a:gd name="T82" fmla="*/ 186 w 687"/>
                <a:gd name="T83" fmla="*/ 36 h 63"/>
                <a:gd name="T84" fmla="*/ 158 w 687"/>
                <a:gd name="T85" fmla="*/ 30 h 63"/>
                <a:gd name="T86" fmla="*/ 169 w 687"/>
                <a:gd name="T87" fmla="*/ 35 h 63"/>
                <a:gd name="T88" fmla="*/ 159 w 687"/>
                <a:gd name="T89" fmla="*/ 63 h 63"/>
                <a:gd name="T90" fmla="*/ 105 w 687"/>
                <a:gd name="T91" fmla="*/ 25 h 63"/>
                <a:gd name="T92" fmla="*/ 91 w 687"/>
                <a:gd name="T93" fmla="*/ 56 h 63"/>
                <a:gd name="T94" fmla="*/ 110 w 687"/>
                <a:gd name="T95" fmla="*/ 21 h 63"/>
                <a:gd name="T96" fmla="*/ 82 w 687"/>
                <a:gd name="T97" fmla="*/ 60 h 63"/>
                <a:gd name="T98" fmla="*/ 12 w 687"/>
                <a:gd name="T99" fmla="*/ 62 h 63"/>
                <a:gd name="T100" fmla="*/ 80 w 687"/>
                <a:gd name="T101" fmla="*/ 0 h 63"/>
                <a:gd name="T102" fmla="*/ 45 w 687"/>
                <a:gd name="T103" fmla="*/ 0 h 63"/>
                <a:gd name="T104" fmla="*/ 9 w 687"/>
                <a:gd name="T105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7" h="63">
                  <a:moveTo>
                    <a:pt x="628" y="62"/>
                  </a:moveTo>
                  <a:cubicBezTo>
                    <a:pt x="632" y="41"/>
                    <a:pt x="632" y="41"/>
                    <a:pt x="632" y="41"/>
                  </a:cubicBezTo>
                  <a:cubicBezTo>
                    <a:pt x="633" y="36"/>
                    <a:pt x="634" y="33"/>
                    <a:pt x="636" y="30"/>
                  </a:cubicBezTo>
                  <a:cubicBezTo>
                    <a:pt x="637" y="28"/>
                    <a:pt x="639" y="26"/>
                    <a:pt x="641" y="24"/>
                  </a:cubicBezTo>
                  <a:cubicBezTo>
                    <a:pt x="644" y="23"/>
                    <a:pt x="646" y="22"/>
                    <a:pt x="648" y="22"/>
                  </a:cubicBezTo>
                  <a:cubicBezTo>
                    <a:pt x="650" y="22"/>
                    <a:pt x="651" y="23"/>
                    <a:pt x="652" y="24"/>
                  </a:cubicBezTo>
                  <a:cubicBezTo>
                    <a:pt x="653" y="24"/>
                    <a:pt x="653" y="26"/>
                    <a:pt x="653" y="27"/>
                  </a:cubicBezTo>
                  <a:cubicBezTo>
                    <a:pt x="653" y="28"/>
                    <a:pt x="653" y="29"/>
                    <a:pt x="652" y="32"/>
                  </a:cubicBezTo>
                  <a:cubicBezTo>
                    <a:pt x="646" y="62"/>
                    <a:pt x="646" y="62"/>
                    <a:pt x="646" y="62"/>
                  </a:cubicBezTo>
                  <a:cubicBezTo>
                    <a:pt x="654" y="62"/>
                    <a:pt x="654" y="62"/>
                    <a:pt x="654" y="62"/>
                  </a:cubicBezTo>
                  <a:cubicBezTo>
                    <a:pt x="658" y="40"/>
                    <a:pt x="658" y="40"/>
                    <a:pt x="658" y="40"/>
                  </a:cubicBezTo>
                  <a:cubicBezTo>
                    <a:pt x="659" y="35"/>
                    <a:pt x="660" y="32"/>
                    <a:pt x="662" y="30"/>
                  </a:cubicBezTo>
                  <a:cubicBezTo>
                    <a:pt x="663" y="27"/>
                    <a:pt x="665" y="26"/>
                    <a:pt x="667" y="24"/>
                  </a:cubicBezTo>
                  <a:cubicBezTo>
                    <a:pt x="670" y="23"/>
                    <a:pt x="672" y="22"/>
                    <a:pt x="674" y="22"/>
                  </a:cubicBezTo>
                  <a:cubicBezTo>
                    <a:pt x="676" y="22"/>
                    <a:pt x="677" y="23"/>
                    <a:pt x="678" y="24"/>
                  </a:cubicBezTo>
                  <a:cubicBezTo>
                    <a:pt x="679" y="24"/>
                    <a:pt x="680" y="25"/>
                    <a:pt x="680" y="27"/>
                  </a:cubicBezTo>
                  <a:cubicBezTo>
                    <a:pt x="680" y="28"/>
                    <a:pt x="679" y="30"/>
                    <a:pt x="679" y="32"/>
                  </a:cubicBezTo>
                  <a:cubicBezTo>
                    <a:pt x="673" y="62"/>
                    <a:pt x="673" y="62"/>
                    <a:pt x="673" y="62"/>
                  </a:cubicBezTo>
                  <a:cubicBezTo>
                    <a:pt x="680" y="62"/>
                    <a:pt x="680" y="62"/>
                    <a:pt x="680" y="62"/>
                  </a:cubicBezTo>
                  <a:cubicBezTo>
                    <a:pt x="686" y="33"/>
                    <a:pt x="686" y="33"/>
                    <a:pt x="686" y="33"/>
                  </a:cubicBezTo>
                  <a:cubicBezTo>
                    <a:pt x="687" y="30"/>
                    <a:pt x="687" y="27"/>
                    <a:pt x="687" y="26"/>
                  </a:cubicBezTo>
                  <a:cubicBezTo>
                    <a:pt x="687" y="23"/>
                    <a:pt x="686" y="20"/>
                    <a:pt x="684" y="19"/>
                  </a:cubicBezTo>
                  <a:cubicBezTo>
                    <a:pt x="683" y="17"/>
                    <a:pt x="680" y="16"/>
                    <a:pt x="676" y="16"/>
                  </a:cubicBezTo>
                  <a:cubicBezTo>
                    <a:pt x="673" y="16"/>
                    <a:pt x="671" y="17"/>
                    <a:pt x="668" y="18"/>
                  </a:cubicBezTo>
                  <a:cubicBezTo>
                    <a:pt x="666" y="19"/>
                    <a:pt x="663" y="22"/>
                    <a:pt x="661" y="24"/>
                  </a:cubicBezTo>
                  <a:cubicBezTo>
                    <a:pt x="660" y="22"/>
                    <a:pt x="659" y="20"/>
                    <a:pt x="657" y="18"/>
                  </a:cubicBezTo>
                  <a:cubicBezTo>
                    <a:pt x="655" y="17"/>
                    <a:pt x="653" y="16"/>
                    <a:pt x="650" y="16"/>
                  </a:cubicBezTo>
                  <a:cubicBezTo>
                    <a:pt x="648" y="16"/>
                    <a:pt x="645" y="17"/>
                    <a:pt x="643" y="18"/>
                  </a:cubicBezTo>
                  <a:cubicBezTo>
                    <a:pt x="641" y="19"/>
                    <a:pt x="638" y="21"/>
                    <a:pt x="635" y="24"/>
                  </a:cubicBezTo>
                  <a:cubicBezTo>
                    <a:pt x="637" y="17"/>
                    <a:pt x="637" y="17"/>
                    <a:pt x="637" y="17"/>
                  </a:cubicBezTo>
                  <a:cubicBezTo>
                    <a:pt x="629" y="17"/>
                    <a:pt x="629" y="17"/>
                    <a:pt x="629" y="17"/>
                  </a:cubicBezTo>
                  <a:cubicBezTo>
                    <a:pt x="620" y="62"/>
                    <a:pt x="620" y="62"/>
                    <a:pt x="620" y="62"/>
                  </a:cubicBezTo>
                  <a:lnTo>
                    <a:pt x="628" y="62"/>
                  </a:lnTo>
                  <a:close/>
                  <a:moveTo>
                    <a:pt x="600" y="62"/>
                  </a:moveTo>
                  <a:cubicBezTo>
                    <a:pt x="607" y="62"/>
                    <a:pt x="607" y="62"/>
                    <a:pt x="607" y="62"/>
                  </a:cubicBezTo>
                  <a:cubicBezTo>
                    <a:pt x="617" y="17"/>
                    <a:pt x="617" y="17"/>
                    <a:pt x="617" y="17"/>
                  </a:cubicBezTo>
                  <a:cubicBezTo>
                    <a:pt x="609" y="17"/>
                    <a:pt x="609" y="17"/>
                    <a:pt x="609" y="17"/>
                  </a:cubicBezTo>
                  <a:cubicBezTo>
                    <a:pt x="605" y="36"/>
                    <a:pt x="605" y="36"/>
                    <a:pt x="605" y="36"/>
                  </a:cubicBezTo>
                  <a:cubicBezTo>
                    <a:pt x="604" y="40"/>
                    <a:pt x="604" y="43"/>
                    <a:pt x="603" y="44"/>
                  </a:cubicBezTo>
                  <a:cubicBezTo>
                    <a:pt x="602" y="47"/>
                    <a:pt x="601" y="49"/>
                    <a:pt x="599" y="51"/>
                  </a:cubicBezTo>
                  <a:cubicBezTo>
                    <a:pt x="598" y="52"/>
                    <a:pt x="596" y="54"/>
                    <a:pt x="594" y="55"/>
                  </a:cubicBezTo>
                  <a:cubicBezTo>
                    <a:pt x="592" y="56"/>
                    <a:pt x="590" y="56"/>
                    <a:pt x="588" y="56"/>
                  </a:cubicBezTo>
                  <a:cubicBezTo>
                    <a:pt x="586" y="56"/>
                    <a:pt x="584" y="56"/>
                    <a:pt x="583" y="55"/>
                  </a:cubicBezTo>
                  <a:cubicBezTo>
                    <a:pt x="582" y="54"/>
                    <a:pt x="582" y="53"/>
                    <a:pt x="582" y="51"/>
                  </a:cubicBezTo>
                  <a:cubicBezTo>
                    <a:pt x="582" y="50"/>
                    <a:pt x="582" y="48"/>
                    <a:pt x="583" y="46"/>
                  </a:cubicBezTo>
                  <a:cubicBezTo>
                    <a:pt x="589" y="17"/>
                    <a:pt x="589" y="17"/>
                    <a:pt x="589" y="17"/>
                  </a:cubicBezTo>
                  <a:cubicBezTo>
                    <a:pt x="581" y="17"/>
                    <a:pt x="581" y="17"/>
                    <a:pt x="581" y="17"/>
                  </a:cubicBezTo>
                  <a:cubicBezTo>
                    <a:pt x="575" y="43"/>
                    <a:pt x="575" y="43"/>
                    <a:pt x="575" y="43"/>
                  </a:cubicBezTo>
                  <a:cubicBezTo>
                    <a:pt x="575" y="47"/>
                    <a:pt x="574" y="51"/>
                    <a:pt x="574" y="52"/>
                  </a:cubicBezTo>
                  <a:cubicBezTo>
                    <a:pt x="574" y="55"/>
                    <a:pt x="575" y="58"/>
                    <a:pt x="577" y="60"/>
                  </a:cubicBezTo>
                  <a:cubicBezTo>
                    <a:pt x="579" y="62"/>
                    <a:pt x="582" y="63"/>
                    <a:pt x="586" y="63"/>
                  </a:cubicBezTo>
                  <a:cubicBezTo>
                    <a:pt x="591" y="63"/>
                    <a:pt x="597" y="60"/>
                    <a:pt x="602" y="54"/>
                  </a:cubicBezTo>
                  <a:lnTo>
                    <a:pt x="600" y="62"/>
                  </a:lnTo>
                  <a:close/>
                  <a:moveTo>
                    <a:pt x="559" y="62"/>
                  </a:moveTo>
                  <a:cubicBezTo>
                    <a:pt x="565" y="34"/>
                    <a:pt x="565" y="34"/>
                    <a:pt x="565" y="34"/>
                  </a:cubicBezTo>
                  <a:cubicBezTo>
                    <a:pt x="569" y="17"/>
                    <a:pt x="569" y="17"/>
                    <a:pt x="569" y="17"/>
                  </a:cubicBezTo>
                  <a:cubicBezTo>
                    <a:pt x="561" y="17"/>
                    <a:pt x="561" y="17"/>
                    <a:pt x="561" y="17"/>
                  </a:cubicBezTo>
                  <a:cubicBezTo>
                    <a:pt x="557" y="34"/>
                    <a:pt x="557" y="34"/>
                    <a:pt x="557" y="34"/>
                  </a:cubicBezTo>
                  <a:cubicBezTo>
                    <a:pt x="552" y="62"/>
                    <a:pt x="552" y="62"/>
                    <a:pt x="552" y="62"/>
                  </a:cubicBezTo>
                  <a:lnTo>
                    <a:pt x="559" y="62"/>
                  </a:lnTo>
                  <a:close/>
                  <a:moveTo>
                    <a:pt x="570" y="9"/>
                  </a:moveTo>
                  <a:cubicBezTo>
                    <a:pt x="571" y="4"/>
                    <a:pt x="571" y="4"/>
                    <a:pt x="571" y="4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64" y="4"/>
                    <a:pt x="564" y="4"/>
                    <a:pt x="564" y="4"/>
                  </a:cubicBezTo>
                  <a:cubicBezTo>
                    <a:pt x="563" y="9"/>
                    <a:pt x="563" y="9"/>
                    <a:pt x="563" y="9"/>
                  </a:cubicBezTo>
                  <a:lnTo>
                    <a:pt x="570" y="9"/>
                  </a:lnTo>
                  <a:close/>
                  <a:moveTo>
                    <a:pt x="511" y="62"/>
                  </a:moveTo>
                  <a:cubicBezTo>
                    <a:pt x="515" y="41"/>
                    <a:pt x="515" y="41"/>
                    <a:pt x="515" y="41"/>
                  </a:cubicBezTo>
                  <a:cubicBezTo>
                    <a:pt x="517" y="34"/>
                    <a:pt x="519" y="29"/>
                    <a:pt x="522" y="26"/>
                  </a:cubicBezTo>
                  <a:cubicBezTo>
                    <a:pt x="525" y="24"/>
                    <a:pt x="529" y="22"/>
                    <a:pt x="533" y="22"/>
                  </a:cubicBezTo>
                  <a:cubicBezTo>
                    <a:pt x="535" y="22"/>
                    <a:pt x="536" y="23"/>
                    <a:pt x="537" y="24"/>
                  </a:cubicBezTo>
                  <a:cubicBezTo>
                    <a:pt x="538" y="25"/>
                    <a:pt x="539" y="26"/>
                    <a:pt x="539" y="27"/>
                  </a:cubicBezTo>
                  <a:cubicBezTo>
                    <a:pt x="539" y="29"/>
                    <a:pt x="538" y="31"/>
                    <a:pt x="538" y="33"/>
                  </a:cubicBezTo>
                  <a:cubicBezTo>
                    <a:pt x="532" y="62"/>
                    <a:pt x="532" y="62"/>
                    <a:pt x="532" y="62"/>
                  </a:cubicBezTo>
                  <a:cubicBezTo>
                    <a:pt x="539" y="62"/>
                    <a:pt x="539" y="62"/>
                    <a:pt x="539" y="62"/>
                  </a:cubicBezTo>
                  <a:cubicBezTo>
                    <a:pt x="545" y="35"/>
                    <a:pt x="545" y="35"/>
                    <a:pt x="545" y="35"/>
                  </a:cubicBezTo>
                  <a:cubicBezTo>
                    <a:pt x="546" y="31"/>
                    <a:pt x="546" y="28"/>
                    <a:pt x="546" y="27"/>
                  </a:cubicBezTo>
                  <a:cubicBezTo>
                    <a:pt x="546" y="24"/>
                    <a:pt x="545" y="21"/>
                    <a:pt x="543" y="19"/>
                  </a:cubicBezTo>
                  <a:cubicBezTo>
                    <a:pt x="541" y="17"/>
                    <a:pt x="538" y="16"/>
                    <a:pt x="535" y="16"/>
                  </a:cubicBezTo>
                  <a:cubicBezTo>
                    <a:pt x="532" y="16"/>
                    <a:pt x="529" y="17"/>
                    <a:pt x="527" y="18"/>
                  </a:cubicBezTo>
                  <a:cubicBezTo>
                    <a:pt x="524" y="19"/>
                    <a:pt x="521" y="22"/>
                    <a:pt x="518" y="25"/>
                  </a:cubicBezTo>
                  <a:cubicBezTo>
                    <a:pt x="520" y="17"/>
                    <a:pt x="520" y="17"/>
                    <a:pt x="520" y="17"/>
                  </a:cubicBezTo>
                  <a:cubicBezTo>
                    <a:pt x="513" y="17"/>
                    <a:pt x="513" y="17"/>
                    <a:pt x="513" y="17"/>
                  </a:cubicBezTo>
                  <a:cubicBezTo>
                    <a:pt x="504" y="62"/>
                    <a:pt x="504" y="62"/>
                    <a:pt x="504" y="62"/>
                  </a:cubicBezTo>
                  <a:lnTo>
                    <a:pt x="511" y="62"/>
                  </a:lnTo>
                  <a:close/>
                  <a:moveTo>
                    <a:pt x="491" y="62"/>
                  </a:moveTo>
                  <a:cubicBezTo>
                    <a:pt x="497" y="36"/>
                    <a:pt x="497" y="36"/>
                    <a:pt x="497" y="36"/>
                  </a:cubicBezTo>
                  <a:cubicBezTo>
                    <a:pt x="501" y="17"/>
                    <a:pt x="501" y="17"/>
                    <a:pt x="501" y="17"/>
                  </a:cubicBezTo>
                  <a:cubicBezTo>
                    <a:pt x="493" y="17"/>
                    <a:pt x="493" y="17"/>
                    <a:pt x="493" y="17"/>
                  </a:cubicBezTo>
                  <a:cubicBezTo>
                    <a:pt x="489" y="36"/>
                    <a:pt x="489" y="36"/>
                    <a:pt x="489" y="36"/>
                  </a:cubicBezTo>
                  <a:cubicBezTo>
                    <a:pt x="484" y="62"/>
                    <a:pt x="484" y="62"/>
                    <a:pt x="484" y="62"/>
                  </a:cubicBezTo>
                  <a:lnTo>
                    <a:pt x="491" y="62"/>
                  </a:lnTo>
                  <a:close/>
                  <a:moveTo>
                    <a:pt x="502" y="9"/>
                  </a:moveTo>
                  <a:cubicBezTo>
                    <a:pt x="503" y="5"/>
                    <a:pt x="503" y="5"/>
                    <a:pt x="503" y="5"/>
                  </a:cubicBezTo>
                  <a:cubicBezTo>
                    <a:pt x="504" y="0"/>
                    <a:pt x="504" y="0"/>
                    <a:pt x="504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96" y="4"/>
                    <a:pt x="496" y="4"/>
                    <a:pt x="496" y="4"/>
                  </a:cubicBezTo>
                  <a:cubicBezTo>
                    <a:pt x="495" y="9"/>
                    <a:pt x="495" y="9"/>
                    <a:pt x="495" y="9"/>
                  </a:cubicBezTo>
                  <a:lnTo>
                    <a:pt x="502" y="9"/>
                  </a:lnTo>
                  <a:close/>
                  <a:moveTo>
                    <a:pt x="419" y="62"/>
                  </a:moveTo>
                  <a:cubicBezTo>
                    <a:pt x="424" y="41"/>
                    <a:pt x="424" y="41"/>
                    <a:pt x="424" y="41"/>
                  </a:cubicBezTo>
                  <a:cubicBezTo>
                    <a:pt x="425" y="36"/>
                    <a:pt x="426" y="33"/>
                    <a:pt x="427" y="30"/>
                  </a:cubicBezTo>
                  <a:cubicBezTo>
                    <a:pt x="429" y="28"/>
                    <a:pt x="431" y="26"/>
                    <a:pt x="433" y="24"/>
                  </a:cubicBezTo>
                  <a:cubicBezTo>
                    <a:pt x="435" y="23"/>
                    <a:pt x="438" y="22"/>
                    <a:pt x="440" y="22"/>
                  </a:cubicBezTo>
                  <a:cubicBezTo>
                    <a:pt x="441" y="22"/>
                    <a:pt x="443" y="23"/>
                    <a:pt x="443" y="24"/>
                  </a:cubicBezTo>
                  <a:cubicBezTo>
                    <a:pt x="444" y="24"/>
                    <a:pt x="445" y="26"/>
                    <a:pt x="445" y="27"/>
                  </a:cubicBezTo>
                  <a:cubicBezTo>
                    <a:pt x="445" y="28"/>
                    <a:pt x="445" y="29"/>
                    <a:pt x="444" y="32"/>
                  </a:cubicBezTo>
                  <a:cubicBezTo>
                    <a:pt x="438" y="62"/>
                    <a:pt x="438" y="62"/>
                    <a:pt x="438" y="62"/>
                  </a:cubicBezTo>
                  <a:cubicBezTo>
                    <a:pt x="445" y="62"/>
                    <a:pt x="445" y="62"/>
                    <a:pt x="445" y="62"/>
                  </a:cubicBezTo>
                  <a:cubicBezTo>
                    <a:pt x="450" y="40"/>
                    <a:pt x="450" y="40"/>
                    <a:pt x="450" y="40"/>
                  </a:cubicBezTo>
                  <a:cubicBezTo>
                    <a:pt x="451" y="35"/>
                    <a:pt x="452" y="32"/>
                    <a:pt x="453" y="30"/>
                  </a:cubicBezTo>
                  <a:cubicBezTo>
                    <a:pt x="455" y="27"/>
                    <a:pt x="457" y="26"/>
                    <a:pt x="459" y="24"/>
                  </a:cubicBezTo>
                  <a:cubicBezTo>
                    <a:pt x="461" y="23"/>
                    <a:pt x="464" y="22"/>
                    <a:pt x="466" y="22"/>
                  </a:cubicBezTo>
                  <a:cubicBezTo>
                    <a:pt x="468" y="22"/>
                    <a:pt x="469" y="23"/>
                    <a:pt x="470" y="24"/>
                  </a:cubicBezTo>
                  <a:cubicBezTo>
                    <a:pt x="471" y="24"/>
                    <a:pt x="471" y="25"/>
                    <a:pt x="471" y="27"/>
                  </a:cubicBezTo>
                  <a:cubicBezTo>
                    <a:pt x="471" y="28"/>
                    <a:pt x="471" y="30"/>
                    <a:pt x="470" y="3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72" y="62"/>
                    <a:pt x="472" y="62"/>
                    <a:pt x="472" y="62"/>
                  </a:cubicBezTo>
                  <a:cubicBezTo>
                    <a:pt x="478" y="33"/>
                    <a:pt x="478" y="33"/>
                    <a:pt x="478" y="33"/>
                  </a:cubicBezTo>
                  <a:cubicBezTo>
                    <a:pt x="479" y="30"/>
                    <a:pt x="479" y="27"/>
                    <a:pt x="479" y="26"/>
                  </a:cubicBezTo>
                  <a:cubicBezTo>
                    <a:pt x="479" y="23"/>
                    <a:pt x="478" y="20"/>
                    <a:pt x="476" y="19"/>
                  </a:cubicBezTo>
                  <a:cubicBezTo>
                    <a:pt x="474" y="17"/>
                    <a:pt x="471" y="16"/>
                    <a:pt x="468" y="16"/>
                  </a:cubicBezTo>
                  <a:cubicBezTo>
                    <a:pt x="465" y="16"/>
                    <a:pt x="462" y="17"/>
                    <a:pt x="460" y="18"/>
                  </a:cubicBezTo>
                  <a:cubicBezTo>
                    <a:pt x="457" y="19"/>
                    <a:pt x="455" y="22"/>
                    <a:pt x="453" y="24"/>
                  </a:cubicBezTo>
                  <a:cubicBezTo>
                    <a:pt x="452" y="22"/>
                    <a:pt x="451" y="20"/>
                    <a:pt x="449" y="18"/>
                  </a:cubicBezTo>
                  <a:cubicBezTo>
                    <a:pt x="447" y="17"/>
                    <a:pt x="445" y="16"/>
                    <a:pt x="442" y="16"/>
                  </a:cubicBezTo>
                  <a:cubicBezTo>
                    <a:pt x="439" y="16"/>
                    <a:pt x="437" y="17"/>
                    <a:pt x="435" y="18"/>
                  </a:cubicBezTo>
                  <a:cubicBezTo>
                    <a:pt x="432" y="19"/>
                    <a:pt x="430" y="21"/>
                    <a:pt x="427" y="24"/>
                  </a:cubicBezTo>
                  <a:cubicBezTo>
                    <a:pt x="429" y="17"/>
                    <a:pt x="429" y="17"/>
                    <a:pt x="429" y="17"/>
                  </a:cubicBezTo>
                  <a:cubicBezTo>
                    <a:pt x="421" y="17"/>
                    <a:pt x="421" y="17"/>
                    <a:pt x="421" y="17"/>
                  </a:cubicBezTo>
                  <a:cubicBezTo>
                    <a:pt x="412" y="62"/>
                    <a:pt x="412" y="62"/>
                    <a:pt x="412" y="62"/>
                  </a:cubicBezTo>
                  <a:lnTo>
                    <a:pt x="419" y="62"/>
                  </a:lnTo>
                  <a:close/>
                  <a:moveTo>
                    <a:pt x="392" y="62"/>
                  </a:moveTo>
                  <a:cubicBezTo>
                    <a:pt x="399" y="62"/>
                    <a:pt x="399" y="62"/>
                    <a:pt x="399" y="62"/>
                  </a:cubicBezTo>
                  <a:cubicBezTo>
                    <a:pt x="408" y="17"/>
                    <a:pt x="408" y="17"/>
                    <a:pt x="408" y="17"/>
                  </a:cubicBezTo>
                  <a:cubicBezTo>
                    <a:pt x="401" y="17"/>
                    <a:pt x="401" y="17"/>
                    <a:pt x="401" y="17"/>
                  </a:cubicBezTo>
                  <a:cubicBezTo>
                    <a:pt x="397" y="36"/>
                    <a:pt x="397" y="36"/>
                    <a:pt x="397" y="36"/>
                  </a:cubicBezTo>
                  <a:cubicBezTo>
                    <a:pt x="396" y="40"/>
                    <a:pt x="395" y="43"/>
                    <a:pt x="395" y="44"/>
                  </a:cubicBezTo>
                  <a:cubicBezTo>
                    <a:pt x="394" y="47"/>
                    <a:pt x="392" y="49"/>
                    <a:pt x="391" y="51"/>
                  </a:cubicBezTo>
                  <a:cubicBezTo>
                    <a:pt x="390" y="52"/>
                    <a:pt x="388" y="54"/>
                    <a:pt x="386" y="55"/>
                  </a:cubicBezTo>
                  <a:cubicBezTo>
                    <a:pt x="384" y="56"/>
                    <a:pt x="382" y="56"/>
                    <a:pt x="379" y="56"/>
                  </a:cubicBezTo>
                  <a:cubicBezTo>
                    <a:pt x="377" y="56"/>
                    <a:pt x="376" y="56"/>
                    <a:pt x="375" y="55"/>
                  </a:cubicBezTo>
                  <a:cubicBezTo>
                    <a:pt x="374" y="54"/>
                    <a:pt x="373" y="53"/>
                    <a:pt x="373" y="51"/>
                  </a:cubicBezTo>
                  <a:cubicBezTo>
                    <a:pt x="373" y="50"/>
                    <a:pt x="374" y="48"/>
                    <a:pt x="374" y="46"/>
                  </a:cubicBezTo>
                  <a:cubicBezTo>
                    <a:pt x="380" y="17"/>
                    <a:pt x="380" y="17"/>
                    <a:pt x="380" y="1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7" y="43"/>
                    <a:pt x="367" y="43"/>
                    <a:pt x="367" y="43"/>
                  </a:cubicBezTo>
                  <a:cubicBezTo>
                    <a:pt x="366" y="47"/>
                    <a:pt x="366" y="51"/>
                    <a:pt x="366" y="52"/>
                  </a:cubicBezTo>
                  <a:cubicBezTo>
                    <a:pt x="366" y="55"/>
                    <a:pt x="367" y="58"/>
                    <a:pt x="369" y="60"/>
                  </a:cubicBezTo>
                  <a:cubicBezTo>
                    <a:pt x="371" y="62"/>
                    <a:pt x="374" y="63"/>
                    <a:pt x="377" y="63"/>
                  </a:cubicBezTo>
                  <a:cubicBezTo>
                    <a:pt x="383" y="63"/>
                    <a:pt x="388" y="60"/>
                    <a:pt x="394" y="54"/>
                  </a:cubicBezTo>
                  <a:lnTo>
                    <a:pt x="392" y="62"/>
                  </a:lnTo>
                  <a:close/>
                  <a:moveTo>
                    <a:pt x="351" y="62"/>
                  </a:moveTo>
                  <a:cubicBezTo>
                    <a:pt x="358" y="28"/>
                    <a:pt x="358" y="28"/>
                    <a:pt x="358" y="28"/>
                  </a:cubicBezTo>
                  <a:cubicBezTo>
                    <a:pt x="364" y="0"/>
                    <a:pt x="364" y="0"/>
                    <a:pt x="364" y="0"/>
                  </a:cubicBezTo>
                  <a:cubicBezTo>
                    <a:pt x="356" y="0"/>
                    <a:pt x="356" y="0"/>
                    <a:pt x="356" y="0"/>
                  </a:cubicBezTo>
                  <a:cubicBezTo>
                    <a:pt x="350" y="27"/>
                    <a:pt x="350" y="27"/>
                    <a:pt x="350" y="27"/>
                  </a:cubicBezTo>
                  <a:cubicBezTo>
                    <a:pt x="343" y="62"/>
                    <a:pt x="343" y="62"/>
                    <a:pt x="343" y="62"/>
                  </a:cubicBezTo>
                  <a:lnTo>
                    <a:pt x="351" y="62"/>
                  </a:lnTo>
                  <a:close/>
                  <a:moveTo>
                    <a:pt x="325" y="49"/>
                  </a:moveTo>
                  <a:cubicBezTo>
                    <a:pt x="324" y="52"/>
                    <a:pt x="322" y="53"/>
                    <a:pt x="319" y="55"/>
                  </a:cubicBezTo>
                  <a:cubicBezTo>
                    <a:pt x="317" y="56"/>
                    <a:pt x="315" y="57"/>
                    <a:pt x="312" y="57"/>
                  </a:cubicBezTo>
                  <a:cubicBezTo>
                    <a:pt x="309" y="57"/>
                    <a:pt x="307" y="56"/>
                    <a:pt x="306" y="55"/>
                  </a:cubicBezTo>
                  <a:cubicBezTo>
                    <a:pt x="304" y="53"/>
                    <a:pt x="304" y="52"/>
                    <a:pt x="304" y="49"/>
                  </a:cubicBezTo>
                  <a:cubicBezTo>
                    <a:pt x="304" y="48"/>
                    <a:pt x="304" y="46"/>
                    <a:pt x="305" y="45"/>
                  </a:cubicBezTo>
                  <a:cubicBezTo>
                    <a:pt x="306" y="44"/>
                    <a:pt x="307" y="43"/>
                    <a:pt x="309" y="42"/>
                  </a:cubicBezTo>
                  <a:cubicBezTo>
                    <a:pt x="311" y="42"/>
                    <a:pt x="314" y="41"/>
                    <a:pt x="319" y="41"/>
                  </a:cubicBezTo>
                  <a:cubicBezTo>
                    <a:pt x="321" y="40"/>
                    <a:pt x="323" y="40"/>
                    <a:pt x="325" y="40"/>
                  </a:cubicBezTo>
                  <a:cubicBezTo>
                    <a:pt x="326" y="40"/>
                    <a:pt x="327" y="39"/>
                    <a:pt x="328" y="39"/>
                  </a:cubicBezTo>
                  <a:cubicBezTo>
                    <a:pt x="327" y="43"/>
                    <a:pt x="326" y="47"/>
                    <a:pt x="325" y="49"/>
                  </a:cubicBezTo>
                  <a:moveTo>
                    <a:pt x="326" y="62"/>
                  </a:moveTo>
                  <a:cubicBezTo>
                    <a:pt x="334" y="62"/>
                    <a:pt x="334" y="62"/>
                    <a:pt x="334" y="62"/>
                  </a:cubicBezTo>
                  <a:cubicBezTo>
                    <a:pt x="333" y="59"/>
                    <a:pt x="333" y="57"/>
                    <a:pt x="333" y="56"/>
                  </a:cubicBezTo>
                  <a:cubicBezTo>
                    <a:pt x="333" y="53"/>
                    <a:pt x="333" y="51"/>
                    <a:pt x="334" y="47"/>
                  </a:cubicBezTo>
                  <a:cubicBezTo>
                    <a:pt x="337" y="36"/>
                    <a:pt x="337" y="36"/>
                    <a:pt x="337" y="36"/>
                  </a:cubicBezTo>
                  <a:cubicBezTo>
                    <a:pt x="337" y="33"/>
                    <a:pt x="338" y="30"/>
                    <a:pt x="338" y="28"/>
                  </a:cubicBezTo>
                  <a:cubicBezTo>
                    <a:pt x="338" y="24"/>
                    <a:pt x="336" y="22"/>
                    <a:pt x="334" y="20"/>
                  </a:cubicBezTo>
                  <a:cubicBezTo>
                    <a:pt x="331" y="17"/>
                    <a:pt x="326" y="16"/>
                    <a:pt x="321" y="16"/>
                  </a:cubicBezTo>
                  <a:cubicBezTo>
                    <a:pt x="316" y="16"/>
                    <a:pt x="311" y="17"/>
                    <a:pt x="308" y="20"/>
                  </a:cubicBezTo>
                  <a:cubicBezTo>
                    <a:pt x="305" y="22"/>
                    <a:pt x="302" y="25"/>
                    <a:pt x="300" y="30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309" y="28"/>
                    <a:pt x="311" y="26"/>
                    <a:pt x="313" y="24"/>
                  </a:cubicBezTo>
                  <a:cubicBezTo>
                    <a:pt x="315" y="23"/>
                    <a:pt x="317" y="22"/>
                    <a:pt x="320" y="22"/>
                  </a:cubicBezTo>
                  <a:cubicBezTo>
                    <a:pt x="324" y="22"/>
                    <a:pt x="326" y="23"/>
                    <a:pt x="328" y="24"/>
                  </a:cubicBezTo>
                  <a:cubicBezTo>
                    <a:pt x="330" y="25"/>
                    <a:pt x="330" y="27"/>
                    <a:pt x="330" y="28"/>
                  </a:cubicBezTo>
                  <a:cubicBezTo>
                    <a:pt x="330" y="30"/>
                    <a:pt x="330" y="32"/>
                    <a:pt x="329" y="34"/>
                  </a:cubicBezTo>
                  <a:cubicBezTo>
                    <a:pt x="327" y="34"/>
                    <a:pt x="324" y="35"/>
                    <a:pt x="319" y="35"/>
                  </a:cubicBezTo>
                  <a:cubicBezTo>
                    <a:pt x="314" y="35"/>
                    <a:pt x="311" y="36"/>
                    <a:pt x="309" y="36"/>
                  </a:cubicBezTo>
                  <a:cubicBezTo>
                    <a:pt x="307" y="36"/>
                    <a:pt x="304" y="37"/>
                    <a:pt x="302" y="38"/>
                  </a:cubicBezTo>
                  <a:cubicBezTo>
                    <a:pt x="300" y="40"/>
                    <a:pt x="299" y="41"/>
                    <a:pt x="298" y="43"/>
                  </a:cubicBezTo>
                  <a:cubicBezTo>
                    <a:pt x="297" y="45"/>
                    <a:pt x="296" y="47"/>
                    <a:pt x="296" y="50"/>
                  </a:cubicBezTo>
                  <a:cubicBezTo>
                    <a:pt x="296" y="54"/>
                    <a:pt x="297" y="57"/>
                    <a:pt x="300" y="59"/>
                  </a:cubicBezTo>
                  <a:cubicBezTo>
                    <a:pt x="302" y="62"/>
                    <a:pt x="306" y="63"/>
                    <a:pt x="310" y="63"/>
                  </a:cubicBezTo>
                  <a:cubicBezTo>
                    <a:pt x="313" y="63"/>
                    <a:pt x="315" y="62"/>
                    <a:pt x="318" y="61"/>
                  </a:cubicBezTo>
                  <a:cubicBezTo>
                    <a:pt x="320" y="60"/>
                    <a:pt x="323" y="58"/>
                    <a:pt x="325" y="56"/>
                  </a:cubicBezTo>
                  <a:cubicBezTo>
                    <a:pt x="325" y="58"/>
                    <a:pt x="326" y="60"/>
                    <a:pt x="326" y="62"/>
                  </a:cubicBezTo>
                  <a:moveTo>
                    <a:pt x="239" y="25"/>
                  </a:moveTo>
                  <a:cubicBezTo>
                    <a:pt x="242" y="23"/>
                    <a:pt x="245" y="22"/>
                    <a:pt x="248" y="22"/>
                  </a:cubicBezTo>
                  <a:cubicBezTo>
                    <a:pt x="251" y="22"/>
                    <a:pt x="253" y="23"/>
                    <a:pt x="255" y="25"/>
                  </a:cubicBezTo>
                  <a:cubicBezTo>
                    <a:pt x="257" y="27"/>
                    <a:pt x="258" y="30"/>
                    <a:pt x="258" y="34"/>
                  </a:cubicBezTo>
                  <a:cubicBezTo>
                    <a:pt x="258" y="34"/>
                    <a:pt x="258" y="35"/>
                    <a:pt x="258" y="35"/>
                  </a:cubicBezTo>
                  <a:cubicBezTo>
                    <a:pt x="233" y="35"/>
                    <a:pt x="233" y="35"/>
                    <a:pt x="233" y="35"/>
                  </a:cubicBezTo>
                  <a:cubicBezTo>
                    <a:pt x="234" y="31"/>
                    <a:pt x="236" y="28"/>
                    <a:pt x="239" y="25"/>
                  </a:cubicBezTo>
                  <a:moveTo>
                    <a:pt x="249" y="54"/>
                  </a:moveTo>
                  <a:cubicBezTo>
                    <a:pt x="247" y="56"/>
                    <a:pt x="244" y="56"/>
                    <a:pt x="242" y="56"/>
                  </a:cubicBezTo>
                  <a:cubicBezTo>
                    <a:pt x="239" y="56"/>
                    <a:pt x="236" y="55"/>
                    <a:pt x="235" y="53"/>
                  </a:cubicBezTo>
                  <a:cubicBezTo>
                    <a:pt x="233" y="51"/>
                    <a:pt x="232" y="48"/>
                    <a:pt x="232" y="44"/>
                  </a:cubicBezTo>
                  <a:cubicBezTo>
                    <a:pt x="232" y="43"/>
                    <a:pt x="232" y="42"/>
                    <a:pt x="232" y="41"/>
                  </a:cubicBezTo>
                  <a:cubicBezTo>
                    <a:pt x="265" y="41"/>
                    <a:pt x="265" y="41"/>
                    <a:pt x="265" y="41"/>
                  </a:cubicBezTo>
                  <a:cubicBezTo>
                    <a:pt x="265" y="39"/>
                    <a:pt x="265" y="37"/>
                    <a:pt x="265" y="35"/>
                  </a:cubicBezTo>
                  <a:cubicBezTo>
                    <a:pt x="265" y="29"/>
                    <a:pt x="264" y="24"/>
                    <a:pt x="261" y="21"/>
                  </a:cubicBezTo>
                  <a:cubicBezTo>
                    <a:pt x="257" y="18"/>
                    <a:pt x="253" y="16"/>
                    <a:pt x="248" y="16"/>
                  </a:cubicBezTo>
                  <a:cubicBezTo>
                    <a:pt x="244" y="16"/>
                    <a:pt x="240" y="17"/>
                    <a:pt x="236" y="19"/>
                  </a:cubicBezTo>
                  <a:cubicBezTo>
                    <a:pt x="233" y="22"/>
                    <a:pt x="230" y="25"/>
                    <a:pt x="227" y="30"/>
                  </a:cubicBezTo>
                  <a:cubicBezTo>
                    <a:pt x="225" y="34"/>
                    <a:pt x="224" y="39"/>
                    <a:pt x="224" y="44"/>
                  </a:cubicBezTo>
                  <a:cubicBezTo>
                    <a:pt x="224" y="48"/>
                    <a:pt x="225" y="51"/>
                    <a:pt x="226" y="54"/>
                  </a:cubicBezTo>
                  <a:cubicBezTo>
                    <a:pt x="228" y="57"/>
                    <a:pt x="230" y="59"/>
                    <a:pt x="232" y="60"/>
                  </a:cubicBezTo>
                  <a:cubicBezTo>
                    <a:pt x="235" y="62"/>
                    <a:pt x="238" y="63"/>
                    <a:pt x="242" y="63"/>
                  </a:cubicBezTo>
                  <a:cubicBezTo>
                    <a:pt x="247" y="63"/>
                    <a:pt x="251" y="61"/>
                    <a:pt x="255" y="58"/>
                  </a:cubicBezTo>
                  <a:cubicBezTo>
                    <a:pt x="259" y="54"/>
                    <a:pt x="262" y="51"/>
                    <a:pt x="263" y="47"/>
                  </a:cubicBezTo>
                  <a:cubicBezTo>
                    <a:pt x="255" y="47"/>
                    <a:pt x="255" y="47"/>
                    <a:pt x="255" y="47"/>
                  </a:cubicBezTo>
                  <a:cubicBezTo>
                    <a:pt x="254" y="50"/>
                    <a:pt x="252" y="52"/>
                    <a:pt x="249" y="54"/>
                  </a:cubicBezTo>
                  <a:moveTo>
                    <a:pt x="200" y="62"/>
                  </a:moveTo>
                  <a:cubicBezTo>
                    <a:pt x="204" y="44"/>
                    <a:pt x="204" y="44"/>
                    <a:pt x="204" y="44"/>
                  </a:cubicBezTo>
                  <a:cubicBezTo>
                    <a:pt x="206" y="36"/>
                    <a:pt x="208" y="31"/>
                    <a:pt x="211" y="28"/>
                  </a:cubicBezTo>
                  <a:cubicBezTo>
                    <a:pt x="214" y="25"/>
                    <a:pt x="216" y="23"/>
                    <a:pt x="219" y="23"/>
                  </a:cubicBezTo>
                  <a:cubicBezTo>
                    <a:pt x="221" y="23"/>
                    <a:pt x="222" y="24"/>
                    <a:pt x="223" y="25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4" y="17"/>
                    <a:pt x="222" y="16"/>
                    <a:pt x="221" y="16"/>
                  </a:cubicBezTo>
                  <a:cubicBezTo>
                    <a:pt x="219" y="16"/>
                    <a:pt x="216" y="17"/>
                    <a:pt x="214" y="18"/>
                  </a:cubicBezTo>
                  <a:cubicBezTo>
                    <a:pt x="212" y="20"/>
                    <a:pt x="210" y="23"/>
                    <a:pt x="207" y="26"/>
                  </a:cubicBezTo>
                  <a:cubicBezTo>
                    <a:pt x="209" y="17"/>
                    <a:pt x="209" y="17"/>
                    <a:pt x="209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3" y="62"/>
                    <a:pt x="193" y="62"/>
                    <a:pt x="193" y="62"/>
                  </a:cubicBezTo>
                  <a:lnTo>
                    <a:pt x="200" y="62"/>
                  </a:lnTo>
                  <a:close/>
                  <a:moveTo>
                    <a:pt x="175" y="49"/>
                  </a:moveTo>
                  <a:cubicBezTo>
                    <a:pt x="173" y="52"/>
                    <a:pt x="171" y="53"/>
                    <a:pt x="169" y="55"/>
                  </a:cubicBezTo>
                  <a:cubicBezTo>
                    <a:pt x="167" y="56"/>
                    <a:pt x="164" y="57"/>
                    <a:pt x="162" y="57"/>
                  </a:cubicBezTo>
                  <a:cubicBezTo>
                    <a:pt x="159" y="57"/>
                    <a:pt x="157" y="56"/>
                    <a:pt x="155" y="55"/>
                  </a:cubicBezTo>
                  <a:cubicBezTo>
                    <a:pt x="154" y="53"/>
                    <a:pt x="153" y="52"/>
                    <a:pt x="153" y="49"/>
                  </a:cubicBezTo>
                  <a:cubicBezTo>
                    <a:pt x="153" y="48"/>
                    <a:pt x="154" y="46"/>
                    <a:pt x="155" y="45"/>
                  </a:cubicBezTo>
                  <a:cubicBezTo>
                    <a:pt x="156" y="44"/>
                    <a:pt x="157" y="43"/>
                    <a:pt x="159" y="42"/>
                  </a:cubicBezTo>
                  <a:cubicBezTo>
                    <a:pt x="161" y="42"/>
                    <a:pt x="164" y="41"/>
                    <a:pt x="168" y="41"/>
                  </a:cubicBezTo>
                  <a:cubicBezTo>
                    <a:pt x="171" y="40"/>
                    <a:pt x="173" y="40"/>
                    <a:pt x="174" y="40"/>
                  </a:cubicBezTo>
                  <a:cubicBezTo>
                    <a:pt x="176" y="40"/>
                    <a:pt x="177" y="39"/>
                    <a:pt x="178" y="39"/>
                  </a:cubicBezTo>
                  <a:cubicBezTo>
                    <a:pt x="177" y="43"/>
                    <a:pt x="176" y="47"/>
                    <a:pt x="175" y="49"/>
                  </a:cubicBezTo>
                  <a:moveTo>
                    <a:pt x="176" y="62"/>
                  </a:moveTo>
                  <a:cubicBezTo>
                    <a:pt x="184" y="62"/>
                    <a:pt x="184" y="62"/>
                    <a:pt x="184" y="62"/>
                  </a:cubicBezTo>
                  <a:cubicBezTo>
                    <a:pt x="183" y="59"/>
                    <a:pt x="183" y="57"/>
                    <a:pt x="183" y="56"/>
                  </a:cubicBezTo>
                  <a:cubicBezTo>
                    <a:pt x="183" y="53"/>
                    <a:pt x="183" y="51"/>
                    <a:pt x="184" y="47"/>
                  </a:cubicBezTo>
                  <a:cubicBezTo>
                    <a:pt x="186" y="36"/>
                    <a:pt x="186" y="36"/>
                    <a:pt x="186" y="36"/>
                  </a:cubicBezTo>
                  <a:cubicBezTo>
                    <a:pt x="187" y="33"/>
                    <a:pt x="187" y="30"/>
                    <a:pt x="187" y="28"/>
                  </a:cubicBezTo>
                  <a:cubicBezTo>
                    <a:pt x="187" y="24"/>
                    <a:pt x="186" y="22"/>
                    <a:pt x="184" y="20"/>
                  </a:cubicBezTo>
                  <a:cubicBezTo>
                    <a:pt x="180" y="17"/>
                    <a:pt x="176" y="16"/>
                    <a:pt x="170" y="16"/>
                  </a:cubicBezTo>
                  <a:cubicBezTo>
                    <a:pt x="165" y="16"/>
                    <a:pt x="161" y="17"/>
                    <a:pt x="158" y="20"/>
                  </a:cubicBezTo>
                  <a:cubicBezTo>
                    <a:pt x="154" y="22"/>
                    <a:pt x="152" y="25"/>
                    <a:pt x="150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28"/>
                    <a:pt x="160" y="26"/>
                    <a:pt x="162" y="24"/>
                  </a:cubicBezTo>
                  <a:cubicBezTo>
                    <a:pt x="164" y="23"/>
                    <a:pt x="167" y="22"/>
                    <a:pt x="170" y="22"/>
                  </a:cubicBezTo>
                  <a:cubicBezTo>
                    <a:pt x="173" y="22"/>
                    <a:pt x="176" y="23"/>
                    <a:pt x="178" y="24"/>
                  </a:cubicBezTo>
                  <a:cubicBezTo>
                    <a:pt x="179" y="25"/>
                    <a:pt x="180" y="27"/>
                    <a:pt x="180" y="28"/>
                  </a:cubicBezTo>
                  <a:cubicBezTo>
                    <a:pt x="180" y="30"/>
                    <a:pt x="179" y="32"/>
                    <a:pt x="179" y="34"/>
                  </a:cubicBezTo>
                  <a:cubicBezTo>
                    <a:pt x="177" y="34"/>
                    <a:pt x="173" y="35"/>
                    <a:pt x="169" y="35"/>
                  </a:cubicBezTo>
                  <a:cubicBezTo>
                    <a:pt x="164" y="35"/>
                    <a:pt x="161" y="36"/>
                    <a:pt x="159" y="36"/>
                  </a:cubicBezTo>
                  <a:cubicBezTo>
                    <a:pt x="156" y="36"/>
                    <a:pt x="154" y="37"/>
                    <a:pt x="152" y="38"/>
                  </a:cubicBezTo>
                  <a:cubicBezTo>
                    <a:pt x="150" y="40"/>
                    <a:pt x="149" y="41"/>
                    <a:pt x="147" y="43"/>
                  </a:cubicBezTo>
                  <a:cubicBezTo>
                    <a:pt x="146" y="45"/>
                    <a:pt x="146" y="47"/>
                    <a:pt x="146" y="50"/>
                  </a:cubicBezTo>
                  <a:cubicBezTo>
                    <a:pt x="146" y="54"/>
                    <a:pt x="147" y="57"/>
                    <a:pt x="149" y="59"/>
                  </a:cubicBezTo>
                  <a:cubicBezTo>
                    <a:pt x="152" y="62"/>
                    <a:pt x="155" y="63"/>
                    <a:pt x="159" y="63"/>
                  </a:cubicBezTo>
                  <a:cubicBezTo>
                    <a:pt x="162" y="63"/>
                    <a:pt x="165" y="62"/>
                    <a:pt x="167" y="61"/>
                  </a:cubicBezTo>
                  <a:cubicBezTo>
                    <a:pt x="170" y="60"/>
                    <a:pt x="172" y="58"/>
                    <a:pt x="175" y="56"/>
                  </a:cubicBezTo>
                  <a:cubicBezTo>
                    <a:pt x="175" y="58"/>
                    <a:pt x="175" y="60"/>
                    <a:pt x="176" y="62"/>
                  </a:cubicBezTo>
                  <a:moveTo>
                    <a:pt x="89" y="25"/>
                  </a:moveTo>
                  <a:cubicBezTo>
                    <a:pt x="91" y="23"/>
                    <a:pt x="94" y="22"/>
                    <a:pt x="98" y="22"/>
                  </a:cubicBezTo>
                  <a:cubicBezTo>
                    <a:pt x="101" y="22"/>
                    <a:pt x="103" y="23"/>
                    <a:pt x="105" y="25"/>
                  </a:cubicBezTo>
                  <a:cubicBezTo>
                    <a:pt x="107" y="27"/>
                    <a:pt x="108" y="30"/>
                    <a:pt x="108" y="34"/>
                  </a:cubicBezTo>
                  <a:cubicBezTo>
                    <a:pt x="108" y="34"/>
                    <a:pt x="108" y="35"/>
                    <a:pt x="108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4" y="31"/>
                    <a:pt x="86" y="28"/>
                    <a:pt x="89" y="25"/>
                  </a:cubicBezTo>
                  <a:moveTo>
                    <a:pt x="99" y="54"/>
                  </a:moveTo>
                  <a:cubicBezTo>
                    <a:pt x="96" y="56"/>
                    <a:pt x="94" y="56"/>
                    <a:pt x="91" y="56"/>
                  </a:cubicBezTo>
                  <a:cubicBezTo>
                    <a:pt x="88" y="56"/>
                    <a:pt x="86" y="55"/>
                    <a:pt x="84" y="53"/>
                  </a:cubicBezTo>
                  <a:cubicBezTo>
                    <a:pt x="82" y="51"/>
                    <a:pt x="81" y="48"/>
                    <a:pt x="81" y="44"/>
                  </a:cubicBezTo>
                  <a:cubicBezTo>
                    <a:pt x="81" y="43"/>
                    <a:pt x="81" y="42"/>
                    <a:pt x="81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39"/>
                    <a:pt x="115" y="37"/>
                    <a:pt x="115" y="35"/>
                  </a:cubicBezTo>
                  <a:cubicBezTo>
                    <a:pt x="115" y="29"/>
                    <a:pt x="113" y="24"/>
                    <a:pt x="110" y="21"/>
                  </a:cubicBezTo>
                  <a:cubicBezTo>
                    <a:pt x="107" y="18"/>
                    <a:pt x="103" y="16"/>
                    <a:pt x="97" y="16"/>
                  </a:cubicBezTo>
                  <a:cubicBezTo>
                    <a:pt x="93" y="16"/>
                    <a:pt x="89" y="17"/>
                    <a:pt x="86" y="19"/>
                  </a:cubicBezTo>
                  <a:cubicBezTo>
                    <a:pt x="82" y="22"/>
                    <a:pt x="79" y="25"/>
                    <a:pt x="77" y="30"/>
                  </a:cubicBezTo>
                  <a:cubicBezTo>
                    <a:pt x="75" y="34"/>
                    <a:pt x="74" y="39"/>
                    <a:pt x="74" y="44"/>
                  </a:cubicBezTo>
                  <a:cubicBezTo>
                    <a:pt x="74" y="48"/>
                    <a:pt x="74" y="51"/>
                    <a:pt x="76" y="54"/>
                  </a:cubicBezTo>
                  <a:cubicBezTo>
                    <a:pt x="77" y="57"/>
                    <a:pt x="79" y="59"/>
                    <a:pt x="82" y="60"/>
                  </a:cubicBezTo>
                  <a:cubicBezTo>
                    <a:pt x="85" y="62"/>
                    <a:pt x="88" y="63"/>
                    <a:pt x="91" y="63"/>
                  </a:cubicBezTo>
                  <a:cubicBezTo>
                    <a:pt x="96" y="63"/>
                    <a:pt x="101" y="61"/>
                    <a:pt x="105" y="58"/>
                  </a:cubicBezTo>
                  <a:cubicBezTo>
                    <a:pt x="109" y="54"/>
                    <a:pt x="111" y="51"/>
                    <a:pt x="112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3" y="50"/>
                    <a:pt x="101" y="52"/>
                    <a:pt x="99" y="54"/>
                  </a:cubicBezTo>
                  <a:moveTo>
                    <a:pt x="12" y="6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4" y="19"/>
                    <a:pt x="36" y="16"/>
                    <a:pt x="38" y="13"/>
                  </a:cubicBezTo>
                  <a:cubicBezTo>
                    <a:pt x="38" y="17"/>
                    <a:pt x="38" y="21"/>
                    <a:pt x="38" y="24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3" y="37"/>
                    <a:pt x="52" y="40"/>
                    <a:pt x="50" y="45"/>
                  </a:cubicBezTo>
                  <a:cubicBezTo>
                    <a:pt x="48" y="47"/>
                    <a:pt x="48" y="50"/>
                    <a:pt x="47" y="51"/>
                  </a:cubicBezTo>
                  <a:cubicBezTo>
                    <a:pt x="47" y="45"/>
                    <a:pt x="47" y="40"/>
                    <a:pt x="47" y="3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8"/>
                    <a:pt x="13" y="43"/>
                    <a:pt x="10" y="50"/>
                  </a:cubicBezTo>
                  <a:cubicBezTo>
                    <a:pt x="10" y="48"/>
                    <a:pt x="10" y="47"/>
                    <a:pt x="10" y="46"/>
                  </a:cubicBezTo>
                  <a:cubicBezTo>
                    <a:pt x="10" y="45"/>
                    <a:pt x="10" y="44"/>
                    <a:pt x="10" y="42"/>
                  </a:cubicBezTo>
                  <a:cubicBezTo>
                    <a:pt x="10" y="36"/>
                    <a:pt x="9" y="32"/>
                    <a:pt x="9" y="3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62"/>
                    <a:pt x="3" y="62"/>
                    <a:pt x="3" y="62"/>
                  </a:cubicBezTo>
                  <a:lnTo>
                    <a:pt x="1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94A81AE7-89B1-4C9A-BEB0-68351ECC3E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5746" y="6127769"/>
            <a:ext cx="2259101" cy="204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44000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66D50-DC92-4FF6-8EA9-5B4609222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3EC40D-9FBC-42E9-B28C-63446CEB2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E79D86-212B-49C3-AF5E-BDB1399BA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C5A16-DB0C-4122-9F77-43C88323C598}" type="datetimeFigureOut">
              <a:rPr lang="nb-NO" smtClean="0">
                <a:solidFill>
                  <a:srgbClr val="000000">
                    <a:tint val="75000"/>
                  </a:srgbClr>
                </a:solidFill>
              </a:rPr>
              <a:pPr/>
              <a:t>11.03.2021</a:t>
            </a:fld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1C2662-9D28-4707-B983-27266E381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E48704-B0F7-4E11-903B-5B89B35FD4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6BA2F-4BA0-42A3-9D7B-AE2BBF00E1B6}" type="slidenum">
              <a:rPr lang="nb-NO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19950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76127" y="935785"/>
            <a:ext cx="7990980" cy="287933"/>
          </a:xfrm>
        </p:spPr>
        <p:txBody>
          <a:bodyPr>
            <a:normAutofit/>
          </a:bodyPr>
          <a:lstStyle>
            <a:lvl1pPr marL="0" indent="0">
              <a:buNone/>
              <a:defRPr sz="1349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>
          <a:xfrm>
            <a:off x="1390291" y="6307265"/>
            <a:ext cx="1053827" cy="36662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BEDFE-6566-4F4E-B430-281DB2934D7F}" type="datetime1">
              <a:rPr lang="en-US" smtClean="0">
                <a:solidFill>
                  <a:srgbClr val="999999"/>
                </a:solidFill>
              </a:rPr>
              <a:pPr>
                <a:defRPr/>
              </a:pPr>
              <a:t>3/11/2021</a:t>
            </a:fld>
            <a:endParaRPr lang="en-US">
              <a:solidFill>
                <a:srgbClr val="9999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Classification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(</a:t>
            </a:r>
            <a:fld id="{1DB9B824-7DB3-4510-8EFA-492EE4892529}" type="slidenum">
              <a:rPr lang="en-US">
                <a:solidFill>
                  <a:srgbClr val="999999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999999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430547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20380301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769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75907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5958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60669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22859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75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69778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89061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88892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00702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26173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437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D06012C7-63C2-4CF6-8462-EC026609B1D0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75666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66D50-DC92-4FF6-8EA9-5B4609222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3EC40D-9FBC-42E9-B28C-63446CEB2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E79D86-212B-49C3-AF5E-BDB1399BA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C5A16-DB0C-4122-9F77-43C88323C598}" type="datetimeFigureOut">
              <a:rPr lang="nb-NO" smtClean="0">
                <a:solidFill>
                  <a:srgbClr val="FFFFFF"/>
                </a:solidFill>
              </a:rPr>
              <a:pPr/>
              <a:t>11.03.2021</a:t>
            </a:fld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1C2662-9D28-4707-B983-27266E381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E48704-B0F7-4E11-903B-5B89B35FD4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6BA2F-4BA0-42A3-9D7B-AE2BBF00E1B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70273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308579175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97358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110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769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31591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88939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06964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29943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6797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/>
              <a:t>3/11/2021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6888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52BF4B60-CD66-498E-9929-398229DF1252}" type="datetime1">
              <a:rPr lang="en-US" smtClean="0"/>
              <a:t>3/11/2021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463185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1793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49242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09379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08144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431068" y="5820217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FFFF"/>
                </a:solidFill>
                <a:cs typeface="Arial"/>
              </a:rPr>
              <a:t>Avenue de </a:t>
            </a:r>
            <a:r>
              <a:rPr lang="en-US" sz="700" dirty="0" err="1">
                <a:solidFill>
                  <a:srgbClr val="FFFFFF"/>
                </a:solidFill>
                <a:cs typeface="Arial"/>
              </a:rPr>
              <a:t>Broqueville</a:t>
            </a:r>
            <a:r>
              <a:rPr lang="en-US" sz="700" dirty="0">
                <a:solidFill>
                  <a:srgbClr val="FFFFFF"/>
                </a:solidFill>
                <a:cs typeface="Arial"/>
              </a:rPr>
              <a:t> 12  |  B-1150 Brussels  |  Tel: +32 (2) 775 63 11  |   </a:t>
            </a:r>
            <a:r>
              <a:rPr lang="en-US" sz="700" dirty="0" err="1">
                <a:solidFill>
                  <a:srgbClr val="FFFFFF"/>
                </a:solidFill>
                <a:cs typeface="Arial"/>
              </a:rPr>
              <a:t>eurometaux@eurometaux.be</a:t>
            </a:r>
            <a:endParaRPr lang="en-US" sz="7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824163" y="5437376"/>
            <a:ext cx="185775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rgbClr val="FFFFFF"/>
                </a:solidFill>
                <a:cs typeface="Arial"/>
              </a:rPr>
              <a:t>www.eurometaux.eu</a:t>
            </a: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>
                <a:solidFill>
                  <a:srgbClr val="FFFFFF"/>
                </a:solidFill>
                <a:cs typeface="Arial"/>
              </a:rPr>
              <a:t>THANK YOU</a:t>
            </a:r>
            <a:endParaRPr lang="en-US" sz="2800" b="1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709527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451056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1886" y="5463634"/>
            <a:ext cx="355903" cy="22243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0842" y="5437376"/>
            <a:ext cx="35364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EDF1F4"/>
                </a:solidFill>
              </a:rPr>
              <a:t>@</a:t>
            </a:r>
            <a:r>
              <a:rPr lang="en-US" sz="1600" dirty="0" err="1">
                <a:solidFill>
                  <a:srgbClr val="EDF1F4"/>
                </a:solidFill>
              </a:rPr>
              <a:t>Eurometaux</a:t>
            </a:r>
            <a:endParaRPr lang="en-US" sz="1600" dirty="0">
              <a:solidFill>
                <a:srgbClr val="EDF1F4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911726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b="0" i="0" smtClean="0"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</p:spTree>
    <p:extLst>
      <p:ext uri="{BB962C8B-B14F-4D97-AF65-F5344CB8AC3E}">
        <p14:creationId xmlns:p14="http://schemas.microsoft.com/office/powerpoint/2010/main" val="326229580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Last Page 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431068" y="5820217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FFFF"/>
                </a:solidFill>
                <a:cs typeface="Arial"/>
              </a:rPr>
              <a:t>Avenue de </a:t>
            </a:r>
            <a:r>
              <a:rPr lang="en-US" sz="700" dirty="0" err="1">
                <a:solidFill>
                  <a:srgbClr val="FFFFFF"/>
                </a:solidFill>
                <a:cs typeface="Arial"/>
              </a:rPr>
              <a:t>Broqueville</a:t>
            </a:r>
            <a:r>
              <a:rPr lang="en-US" sz="700" dirty="0">
                <a:solidFill>
                  <a:srgbClr val="FFFFFF"/>
                </a:solidFill>
                <a:cs typeface="Arial"/>
              </a:rPr>
              <a:t> 12  |  B-1150 Brussels  |  Tel: +32 (2) 775 63 11  |   </a:t>
            </a:r>
            <a:r>
              <a:rPr lang="en-US" sz="700" dirty="0" err="1">
                <a:solidFill>
                  <a:srgbClr val="FFFFFF"/>
                </a:solidFill>
                <a:cs typeface="Arial"/>
              </a:rPr>
              <a:t>eurometaux@eurometaux.be</a:t>
            </a:r>
            <a:endParaRPr lang="en-US" sz="7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824163" y="5437376"/>
            <a:ext cx="185775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rgbClr val="FFFFFF"/>
                </a:solidFill>
                <a:cs typeface="Arial"/>
              </a:rPr>
              <a:t>www.eurometaux.eu</a:t>
            </a: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>
                <a:solidFill>
                  <a:srgbClr val="FFFFFF"/>
                </a:solidFill>
                <a:cs typeface="Arial"/>
              </a:rPr>
              <a:t>THANK YOU</a:t>
            </a:r>
            <a:endParaRPr lang="en-US" sz="2800" b="1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709527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451056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1886" y="5463634"/>
            <a:ext cx="355903" cy="22243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0842" y="5437376"/>
            <a:ext cx="35364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>
                <a:solidFill>
                  <a:srgbClr val="FFFFFF"/>
                </a:solidFill>
              </a:rPr>
              <a:t>@</a:t>
            </a:r>
            <a:r>
              <a:rPr lang="en-US" sz="1800" dirty="0" err="1">
                <a:solidFill>
                  <a:srgbClr val="FFFFFF"/>
                </a:solidFill>
              </a:rPr>
              <a:t>ChrisHeronEU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911726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b="0" i="0" smtClean="0"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</p:spTree>
    <p:extLst>
      <p:ext uri="{BB962C8B-B14F-4D97-AF65-F5344CB8AC3E}">
        <p14:creationId xmlns:p14="http://schemas.microsoft.com/office/powerpoint/2010/main" val="97305369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407475931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0848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70578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0125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7337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4939" userDrawn="1">
          <p15:clr>
            <a:srgbClr val="FBAE40"/>
          </p15:clr>
        </p15:guide>
        <p15:guide id="3" pos="5301" userDrawn="1">
          <p15:clr>
            <a:srgbClr val="FBAE40"/>
          </p15:clr>
        </p15:guide>
        <p15:guide id="4" orient="horz" pos="3793" userDrawn="1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02110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95365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64827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99613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17977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80706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04981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186458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84B77-7AC2-4088-902B-0B22A70E27D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73539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9344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9C6F15B7-25E0-4388-B3F5-5490580013DF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05969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36765602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896649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61398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64799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13489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80493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23798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929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33391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2131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431068" y="5820217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venue de </a:t>
            </a:r>
            <a:r>
              <a:rPr lang="en-US" sz="700" dirty="0" err="1">
                <a:solidFill>
                  <a:schemeClr val="bg1"/>
                </a:solidFill>
                <a:latin typeface="Arial"/>
                <a:cs typeface="Arial"/>
              </a:rPr>
              <a:t>Broqueville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 12  |  B-1150 Brussels  |  Tel: +32 (2) 775 63 11  |   </a:t>
            </a:r>
            <a:r>
              <a:rPr lang="en-US" sz="700" dirty="0" err="1">
                <a:solidFill>
                  <a:schemeClr val="bg1"/>
                </a:solidFill>
                <a:latin typeface="Arial"/>
                <a:cs typeface="Arial"/>
              </a:rPr>
              <a:t>eurometaux@eurometaux.be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824163" y="5437376"/>
            <a:ext cx="185775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chemeClr val="bg1"/>
                </a:solidFill>
                <a:latin typeface="Arial"/>
                <a:cs typeface="Arial"/>
              </a:rPr>
              <a:t>www.eurometaux.eu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THANK</a:t>
            </a:r>
            <a:r>
              <a:rPr lang="en-US" sz="2800" b="1" baseline="0" dirty="0">
                <a:solidFill>
                  <a:schemeClr val="bg1"/>
                </a:solidFill>
                <a:latin typeface="Arial"/>
                <a:cs typeface="Arial"/>
              </a:rPr>
              <a:t> YOU</a:t>
            </a:r>
            <a:endParaRPr lang="en-US" sz="2800" b="1" dirty="0">
              <a:latin typeface="Arial"/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709527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451056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1886" y="5463634"/>
            <a:ext cx="355903" cy="22243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0842" y="5437376"/>
            <a:ext cx="35364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2"/>
                </a:solidFill>
              </a:rPr>
              <a:t>@</a:t>
            </a:r>
            <a:r>
              <a:rPr lang="en-US" sz="1600" dirty="0" err="1">
                <a:solidFill>
                  <a:schemeClr val="bg2"/>
                </a:solidFill>
              </a:rPr>
              <a:t>Eurometaux</a:t>
            </a:r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911726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b="0" i="0" smtClean="0"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</p:spTree>
    <p:extLst>
      <p:ext uri="{BB962C8B-B14F-4D97-AF65-F5344CB8AC3E}">
        <p14:creationId xmlns:p14="http://schemas.microsoft.com/office/powerpoint/2010/main" val="98735050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95222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20809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84B77-7AC2-4088-902B-0B22A70E27D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83359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0379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74705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5C8193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>
              <a:solidFill>
                <a:srgbClr val="5C81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436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78">
          <p15:clr>
            <a:srgbClr val="FBAE40"/>
          </p15:clr>
        </p15:guide>
        <p15:guide id="2" pos="2982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35714945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806303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8297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6021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Last Page 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431068" y="5820217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venue de </a:t>
            </a:r>
            <a:r>
              <a:rPr lang="en-US" sz="700" dirty="0" err="1">
                <a:solidFill>
                  <a:schemeClr val="bg1"/>
                </a:solidFill>
                <a:latin typeface="Arial"/>
                <a:cs typeface="Arial"/>
              </a:rPr>
              <a:t>Broqueville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 12  |  B-1150 Brussels  |  Tel: +32 (2) 775 63 11  |   </a:t>
            </a:r>
            <a:r>
              <a:rPr lang="en-US" sz="700" dirty="0" err="1">
                <a:solidFill>
                  <a:schemeClr val="bg1"/>
                </a:solidFill>
                <a:latin typeface="Arial"/>
                <a:cs typeface="Arial"/>
              </a:rPr>
              <a:t>eurometaux@eurometaux.be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824163" y="5437376"/>
            <a:ext cx="185775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chemeClr val="bg1"/>
                </a:solidFill>
                <a:latin typeface="Arial"/>
                <a:cs typeface="Arial"/>
              </a:rPr>
              <a:t>www.eurometaux.eu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THANK</a:t>
            </a:r>
            <a:r>
              <a:rPr lang="en-US" sz="2800" b="1" baseline="0" dirty="0">
                <a:solidFill>
                  <a:schemeClr val="bg1"/>
                </a:solidFill>
                <a:latin typeface="Arial"/>
                <a:cs typeface="Arial"/>
              </a:rPr>
              <a:t> YOU</a:t>
            </a:r>
            <a:endParaRPr lang="en-US" sz="2800" b="1" dirty="0">
              <a:latin typeface="Arial"/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709527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451056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1886" y="5463634"/>
            <a:ext cx="355903" cy="22243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0842" y="5437376"/>
            <a:ext cx="35364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@</a:t>
            </a:r>
            <a:r>
              <a:rPr lang="en-US" sz="1800" b="0" i="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hrisHeronEU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911726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b="0" i="0" smtClean="0"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05007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49843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36538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92060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07572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99599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28058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48221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84B77-7AC2-4088-902B-0B22A70E27D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36947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4765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248180195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5001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09372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916230"/>
            <a:ext cx="2099653" cy="222840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245" y="375954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9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23299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3945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D06012C7-63C2-4CF6-8462-EC026609B1D0}" type="datetime1">
              <a:rPr lang="en-US" smtClean="0">
                <a:solidFill>
                  <a:srgbClr val="000000"/>
                </a:solidFill>
              </a:rPr>
              <a:pPr/>
              <a:t>3/11/202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82081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000000"/>
                </a:solidFill>
              </a:rPr>
              <a:pPr/>
              <a:t>3/11/202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583976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09372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916230"/>
            <a:ext cx="2099653" cy="222840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245" y="375954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39519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90731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D06012C7-63C2-4CF6-8462-EC026609B1D0}" type="datetime1">
              <a:rPr lang="en-US" smtClean="0">
                <a:solidFill>
                  <a:srgbClr val="000000"/>
                </a:solidFill>
              </a:rPr>
              <a:pPr/>
              <a:t>3/11/202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0526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617670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000000"/>
                </a:solidFill>
              </a:rPr>
              <a:pPr/>
              <a:t>3/11/202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080365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354123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223454077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300875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14571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306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05688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566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48650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9156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78022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07713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74532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0123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33862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0103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ener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105591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aux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566931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nerg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012016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rimar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567108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oll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8992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08411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xtru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915562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589756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824950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239380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867630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tx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147541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9993745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19872632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12862390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65111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74719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39DAFB-6B33-49DF-979F-AB87C296E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BD80E7-6C8E-4D5E-98A7-BB756D1A52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891101-3C1C-4849-B694-1674691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2EEBD-1E98-4113-A6A2-AD4A240D3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C24607-BCE5-46D7-8B24-8D98CAC5F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3C7F9E-972C-48C9-9FE1-5AE34014CE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1623934-660F-4E16-AC62-252CCB4F8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57942664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989138"/>
            <a:ext cx="5364163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2867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3421064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3725" y="1989138"/>
            <a:ext cx="3384550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E39D267-9198-47E5-9B35-62F3F9ACD9E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291513" y="1989138"/>
            <a:ext cx="3421062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45956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57">
          <p15:clr>
            <a:srgbClr val="FBAE40"/>
          </p15:clr>
        </p15:guide>
        <p15:guide id="2" pos="2774">
          <p15:clr>
            <a:srgbClr val="FBAE40"/>
          </p15:clr>
        </p15:guide>
        <p15:guide id="3" pos="4906">
          <p15:clr>
            <a:srgbClr val="FBAE40"/>
          </p15:clr>
        </p15:guide>
        <p15:guide id="4" pos="5223">
          <p15:clr>
            <a:srgbClr val="FBAE4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6825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2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1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3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6165850"/>
            <a:ext cx="454104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71335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3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273612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4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3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5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4" y="6165850"/>
            <a:ext cx="4541041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68771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99E59-0FD0-4C3E-A9C4-0CD1423DD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DE37A7-F8DA-4780-8E36-C3FC3301A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25D5BD-BB8E-4FBE-B016-3CABEC02E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88892E5-1737-4DC9-9234-BFC944612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FAB94BC-6B2D-4DD9-B4CC-7FE2D8E85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CF44C50-B85B-4B46-BE46-2E5252CBA0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685090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7493883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38914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173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75203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9403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3EDC29F-806E-41D8-8B76-2A376F14F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5384800"/>
            <a:ext cx="11233151" cy="781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89171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597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DC473AA6-D9EF-4CFC-92B3-E9AEBE6BFE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0220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id="{B78FF7BB-52BA-46DA-B9EB-95E8C58644F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1438" y="1931307"/>
            <a:ext cx="1889125" cy="2555875"/>
            <a:chOff x="3245" y="1308"/>
            <a:chExt cx="1190" cy="1610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C32C34FE-B266-41B3-99FD-10A6A3BB60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5" y="2082"/>
              <a:ext cx="261" cy="332"/>
            </a:xfrm>
            <a:custGeom>
              <a:avLst/>
              <a:gdLst>
                <a:gd name="T0" fmla="*/ 59 w 261"/>
                <a:gd name="T1" fmla="*/ 186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6 h 332"/>
                <a:gd name="T24" fmla="*/ 59 w 261"/>
                <a:gd name="T25" fmla="*/ 186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6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6"/>
                  </a:lnTo>
                  <a:lnTo>
                    <a:pt x="59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4AA8273-7C2A-4952-AF3B-2788676D6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9" y="2170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4108DB83-089F-4451-A0B4-8FA566C499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4" y="2082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0C10B8BB-C7A6-43F7-A731-7F4C2FD63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1" y="2163"/>
              <a:ext cx="125" cy="251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1A95C0A-7801-459A-82FF-F3100804E8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81" y="2161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EA367DC1-733B-4ED9-B170-8E5AEA94D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29" y="1308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E2240389-001B-45C7-85B9-467EB92E4A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47" y="2809"/>
              <a:ext cx="1188" cy="109"/>
            </a:xfrm>
            <a:custGeom>
              <a:avLst/>
              <a:gdLst>
                <a:gd name="T0" fmla="*/ 652 w 687"/>
                <a:gd name="T1" fmla="*/ 24 h 63"/>
                <a:gd name="T2" fmla="*/ 662 w 687"/>
                <a:gd name="T3" fmla="*/ 30 h 63"/>
                <a:gd name="T4" fmla="*/ 673 w 687"/>
                <a:gd name="T5" fmla="*/ 62 h 63"/>
                <a:gd name="T6" fmla="*/ 668 w 687"/>
                <a:gd name="T7" fmla="*/ 18 h 63"/>
                <a:gd name="T8" fmla="*/ 637 w 687"/>
                <a:gd name="T9" fmla="*/ 17 h 63"/>
                <a:gd name="T10" fmla="*/ 617 w 687"/>
                <a:gd name="T11" fmla="*/ 17 h 63"/>
                <a:gd name="T12" fmla="*/ 588 w 687"/>
                <a:gd name="T13" fmla="*/ 56 h 63"/>
                <a:gd name="T14" fmla="*/ 575 w 687"/>
                <a:gd name="T15" fmla="*/ 43 h 63"/>
                <a:gd name="T16" fmla="*/ 559 w 687"/>
                <a:gd name="T17" fmla="*/ 62 h 63"/>
                <a:gd name="T18" fmla="*/ 559 w 687"/>
                <a:gd name="T19" fmla="*/ 62 h 63"/>
                <a:gd name="T20" fmla="*/ 563 w 687"/>
                <a:gd name="T21" fmla="*/ 9 h 63"/>
                <a:gd name="T22" fmla="*/ 537 w 687"/>
                <a:gd name="T23" fmla="*/ 24 h 63"/>
                <a:gd name="T24" fmla="*/ 546 w 687"/>
                <a:gd name="T25" fmla="*/ 27 h 63"/>
                <a:gd name="T26" fmla="*/ 513 w 687"/>
                <a:gd name="T27" fmla="*/ 17 h 63"/>
                <a:gd name="T28" fmla="*/ 493 w 687"/>
                <a:gd name="T29" fmla="*/ 17 h 63"/>
                <a:gd name="T30" fmla="*/ 504 w 687"/>
                <a:gd name="T31" fmla="*/ 0 h 63"/>
                <a:gd name="T32" fmla="*/ 424 w 687"/>
                <a:gd name="T33" fmla="*/ 41 h 63"/>
                <a:gd name="T34" fmla="*/ 444 w 687"/>
                <a:gd name="T35" fmla="*/ 32 h 63"/>
                <a:gd name="T36" fmla="*/ 466 w 687"/>
                <a:gd name="T37" fmla="*/ 22 h 63"/>
                <a:gd name="T38" fmla="*/ 478 w 687"/>
                <a:gd name="T39" fmla="*/ 33 h 63"/>
                <a:gd name="T40" fmla="*/ 449 w 687"/>
                <a:gd name="T41" fmla="*/ 18 h 63"/>
                <a:gd name="T42" fmla="*/ 412 w 687"/>
                <a:gd name="T43" fmla="*/ 62 h 63"/>
                <a:gd name="T44" fmla="*/ 397 w 687"/>
                <a:gd name="T45" fmla="*/ 36 h 63"/>
                <a:gd name="T46" fmla="*/ 373 w 687"/>
                <a:gd name="T47" fmla="*/ 51 h 63"/>
                <a:gd name="T48" fmla="*/ 369 w 687"/>
                <a:gd name="T49" fmla="*/ 60 h 63"/>
                <a:gd name="T50" fmla="*/ 364 w 687"/>
                <a:gd name="T51" fmla="*/ 0 h 63"/>
                <a:gd name="T52" fmla="*/ 319 w 687"/>
                <a:gd name="T53" fmla="*/ 55 h 63"/>
                <a:gd name="T54" fmla="*/ 319 w 687"/>
                <a:gd name="T55" fmla="*/ 41 h 63"/>
                <a:gd name="T56" fmla="*/ 333 w 687"/>
                <a:gd name="T57" fmla="*/ 56 h 63"/>
                <a:gd name="T58" fmla="*/ 308 w 687"/>
                <a:gd name="T59" fmla="*/ 20 h 63"/>
                <a:gd name="T60" fmla="*/ 330 w 687"/>
                <a:gd name="T61" fmla="*/ 28 h 63"/>
                <a:gd name="T62" fmla="*/ 296 w 687"/>
                <a:gd name="T63" fmla="*/ 50 h 63"/>
                <a:gd name="T64" fmla="*/ 239 w 687"/>
                <a:gd name="T65" fmla="*/ 25 h 63"/>
                <a:gd name="T66" fmla="*/ 239 w 687"/>
                <a:gd name="T67" fmla="*/ 25 h 63"/>
                <a:gd name="T68" fmla="*/ 265 w 687"/>
                <a:gd name="T69" fmla="*/ 41 h 63"/>
                <a:gd name="T70" fmla="*/ 224 w 687"/>
                <a:gd name="T71" fmla="*/ 44 h 63"/>
                <a:gd name="T72" fmla="*/ 255 w 687"/>
                <a:gd name="T73" fmla="*/ 47 h 63"/>
                <a:gd name="T74" fmla="*/ 223 w 687"/>
                <a:gd name="T75" fmla="*/ 25 h 63"/>
                <a:gd name="T76" fmla="*/ 203 w 687"/>
                <a:gd name="T77" fmla="*/ 17 h 63"/>
                <a:gd name="T78" fmla="*/ 155 w 687"/>
                <a:gd name="T79" fmla="*/ 55 h 63"/>
                <a:gd name="T80" fmla="*/ 178 w 687"/>
                <a:gd name="T81" fmla="*/ 39 h 63"/>
                <a:gd name="T82" fmla="*/ 186 w 687"/>
                <a:gd name="T83" fmla="*/ 36 h 63"/>
                <a:gd name="T84" fmla="*/ 158 w 687"/>
                <a:gd name="T85" fmla="*/ 30 h 63"/>
                <a:gd name="T86" fmla="*/ 169 w 687"/>
                <a:gd name="T87" fmla="*/ 35 h 63"/>
                <a:gd name="T88" fmla="*/ 159 w 687"/>
                <a:gd name="T89" fmla="*/ 63 h 63"/>
                <a:gd name="T90" fmla="*/ 105 w 687"/>
                <a:gd name="T91" fmla="*/ 25 h 63"/>
                <a:gd name="T92" fmla="*/ 91 w 687"/>
                <a:gd name="T93" fmla="*/ 56 h 63"/>
                <a:gd name="T94" fmla="*/ 110 w 687"/>
                <a:gd name="T95" fmla="*/ 21 h 63"/>
                <a:gd name="T96" fmla="*/ 82 w 687"/>
                <a:gd name="T97" fmla="*/ 60 h 63"/>
                <a:gd name="T98" fmla="*/ 12 w 687"/>
                <a:gd name="T99" fmla="*/ 62 h 63"/>
                <a:gd name="T100" fmla="*/ 80 w 687"/>
                <a:gd name="T101" fmla="*/ 0 h 63"/>
                <a:gd name="T102" fmla="*/ 45 w 687"/>
                <a:gd name="T103" fmla="*/ 0 h 63"/>
                <a:gd name="T104" fmla="*/ 9 w 687"/>
                <a:gd name="T105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7" h="63">
                  <a:moveTo>
                    <a:pt x="628" y="62"/>
                  </a:moveTo>
                  <a:cubicBezTo>
                    <a:pt x="632" y="41"/>
                    <a:pt x="632" y="41"/>
                    <a:pt x="632" y="41"/>
                  </a:cubicBezTo>
                  <a:cubicBezTo>
                    <a:pt x="633" y="36"/>
                    <a:pt x="634" y="33"/>
                    <a:pt x="636" y="30"/>
                  </a:cubicBezTo>
                  <a:cubicBezTo>
                    <a:pt x="637" y="28"/>
                    <a:pt x="639" y="26"/>
                    <a:pt x="641" y="24"/>
                  </a:cubicBezTo>
                  <a:cubicBezTo>
                    <a:pt x="644" y="23"/>
                    <a:pt x="646" y="22"/>
                    <a:pt x="648" y="22"/>
                  </a:cubicBezTo>
                  <a:cubicBezTo>
                    <a:pt x="650" y="22"/>
                    <a:pt x="651" y="23"/>
                    <a:pt x="652" y="24"/>
                  </a:cubicBezTo>
                  <a:cubicBezTo>
                    <a:pt x="653" y="24"/>
                    <a:pt x="653" y="26"/>
                    <a:pt x="653" y="27"/>
                  </a:cubicBezTo>
                  <a:cubicBezTo>
                    <a:pt x="653" y="28"/>
                    <a:pt x="653" y="29"/>
                    <a:pt x="652" y="32"/>
                  </a:cubicBezTo>
                  <a:cubicBezTo>
                    <a:pt x="646" y="62"/>
                    <a:pt x="646" y="62"/>
                    <a:pt x="646" y="62"/>
                  </a:cubicBezTo>
                  <a:cubicBezTo>
                    <a:pt x="654" y="62"/>
                    <a:pt x="654" y="62"/>
                    <a:pt x="654" y="62"/>
                  </a:cubicBezTo>
                  <a:cubicBezTo>
                    <a:pt x="658" y="40"/>
                    <a:pt x="658" y="40"/>
                    <a:pt x="658" y="40"/>
                  </a:cubicBezTo>
                  <a:cubicBezTo>
                    <a:pt x="659" y="35"/>
                    <a:pt x="660" y="32"/>
                    <a:pt x="662" y="30"/>
                  </a:cubicBezTo>
                  <a:cubicBezTo>
                    <a:pt x="663" y="27"/>
                    <a:pt x="665" y="26"/>
                    <a:pt x="667" y="24"/>
                  </a:cubicBezTo>
                  <a:cubicBezTo>
                    <a:pt x="670" y="23"/>
                    <a:pt x="672" y="22"/>
                    <a:pt x="674" y="22"/>
                  </a:cubicBezTo>
                  <a:cubicBezTo>
                    <a:pt x="676" y="22"/>
                    <a:pt x="677" y="23"/>
                    <a:pt x="678" y="24"/>
                  </a:cubicBezTo>
                  <a:cubicBezTo>
                    <a:pt x="679" y="24"/>
                    <a:pt x="680" y="25"/>
                    <a:pt x="680" y="27"/>
                  </a:cubicBezTo>
                  <a:cubicBezTo>
                    <a:pt x="680" y="28"/>
                    <a:pt x="679" y="30"/>
                    <a:pt x="679" y="32"/>
                  </a:cubicBezTo>
                  <a:cubicBezTo>
                    <a:pt x="673" y="62"/>
                    <a:pt x="673" y="62"/>
                    <a:pt x="673" y="62"/>
                  </a:cubicBezTo>
                  <a:cubicBezTo>
                    <a:pt x="680" y="62"/>
                    <a:pt x="680" y="62"/>
                    <a:pt x="680" y="62"/>
                  </a:cubicBezTo>
                  <a:cubicBezTo>
                    <a:pt x="686" y="33"/>
                    <a:pt x="686" y="33"/>
                    <a:pt x="686" y="33"/>
                  </a:cubicBezTo>
                  <a:cubicBezTo>
                    <a:pt x="687" y="30"/>
                    <a:pt x="687" y="27"/>
                    <a:pt x="687" y="26"/>
                  </a:cubicBezTo>
                  <a:cubicBezTo>
                    <a:pt x="687" y="23"/>
                    <a:pt x="686" y="20"/>
                    <a:pt x="684" y="19"/>
                  </a:cubicBezTo>
                  <a:cubicBezTo>
                    <a:pt x="683" y="17"/>
                    <a:pt x="680" y="16"/>
                    <a:pt x="676" y="16"/>
                  </a:cubicBezTo>
                  <a:cubicBezTo>
                    <a:pt x="673" y="16"/>
                    <a:pt x="671" y="17"/>
                    <a:pt x="668" y="18"/>
                  </a:cubicBezTo>
                  <a:cubicBezTo>
                    <a:pt x="666" y="19"/>
                    <a:pt x="663" y="22"/>
                    <a:pt x="661" y="24"/>
                  </a:cubicBezTo>
                  <a:cubicBezTo>
                    <a:pt x="660" y="22"/>
                    <a:pt x="659" y="20"/>
                    <a:pt x="657" y="18"/>
                  </a:cubicBezTo>
                  <a:cubicBezTo>
                    <a:pt x="655" y="17"/>
                    <a:pt x="653" y="16"/>
                    <a:pt x="650" y="16"/>
                  </a:cubicBezTo>
                  <a:cubicBezTo>
                    <a:pt x="648" y="16"/>
                    <a:pt x="645" y="17"/>
                    <a:pt x="643" y="18"/>
                  </a:cubicBezTo>
                  <a:cubicBezTo>
                    <a:pt x="641" y="19"/>
                    <a:pt x="638" y="21"/>
                    <a:pt x="635" y="24"/>
                  </a:cubicBezTo>
                  <a:cubicBezTo>
                    <a:pt x="637" y="17"/>
                    <a:pt x="637" y="17"/>
                    <a:pt x="637" y="17"/>
                  </a:cubicBezTo>
                  <a:cubicBezTo>
                    <a:pt x="629" y="17"/>
                    <a:pt x="629" y="17"/>
                    <a:pt x="629" y="17"/>
                  </a:cubicBezTo>
                  <a:cubicBezTo>
                    <a:pt x="620" y="62"/>
                    <a:pt x="620" y="62"/>
                    <a:pt x="620" y="62"/>
                  </a:cubicBezTo>
                  <a:lnTo>
                    <a:pt x="628" y="62"/>
                  </a:lnTo>
                  <a:close/>
                  <a:moveTo>
                    <a:pt x="600" y="62"/>
                  </a:moveTo>
                  <a:cubicBezTo>
                    <a:pt x="607" y="62"/>
                    <a:pt x="607" y="62"/>
                    <a:pt x="607" y="62"/>
                  </a:cubicBezTo>
                  <a:cubicBezTo>
                    <a:pt x="617" y="17"/>
                    <a:pt x="617" y="17"/>
                    <a:pt x="617" y="17"/>
                  </a:cubicBezTo>
                  <a:cubicBezTo>
                    <a:pt x="609" y="17"/>
                    <a:pt x="609" y="17"/>
                    <a:pt x="609" y="17"/>
                  </a:cubicBezTo>
                  <a:cubicBezTo>
                    <a:pt x="605" y="36"/>
                    <a:pt x="605" y="36"/>
                    <a:pt x="605" y="36"/>
                  </a:cubicBezTo>
                  <a:cubicBezTo>
                    <a:pt x="604" y="40"/>
                    <a:pt x="604" y="43"/>
                    <a:pt x="603" y="44"/>
                  </a:cubicBezTo>
                  <a:cubicBezTo>
                    <a:pt x="602" y="47"/>
                    <a:pt x="601" y="49"/>
                    <a:pt x="599" y="51"/>
                  </a:cubicBezTo>
                  <a:cubicBezTo>
                    <a:pt x="598" y="52"/>
                    <a:pt x="596" y="54"/>
                    <a:pt x="594" y="55"/>
                  </a:cubicBezTo>
                  <a:cubicBezTo>
                    <a:pt x="592" y="56"/>
                    <a:pt x="590" y="56"/>
                    <a:pt x="588" y="56"/>
                  </a:cubicBezTo>
                  <a:cubicBezTo>
                    <a:pt x="586" y="56"/>
                    <a:pt x="584" y="56"/>
                    <a:pt x="583" y="55"/>
                  </a:cubicBezTo>
                  <a:cubicBezTo>
                    <a:pt x="582" y="54"/>
                    <a:pt x="582" y="53"/>
                    <a:pt x="582" y="51"/>
                  </a:cubicBezTo>
                  <a:cubicBezTo>
                    <a:pt x="582" y="50"/>
                    <a:pt x="582" y="48"/>
                    <a:pt x="583" y="46"/>
                  </a:cubicBezTo>
                  <a:cubicBezTo>
                    <a:pt x="589" y="17"/>
                    <a:pt x="589" y="17"/>
                    <a:pt x="589" y="17"/>
                  </a:cubicBezTo>
                  <a:cubicBezTo>
                    <a:pt x="581" y="17"/>
                    <a:pt x="581" y="17"/>
                    <a:pt x="581" y="17"/>
                  </a:cubicBezTo>
                  <a:cubicBezTo>
                    <a:pt x="575" y="43"/>
                    <a:pt x="575" y="43"/>
                    <a:pt x="575" y="43"/>
                  </a:cubicBezTo>
                  <a:cubicBezTo>
                    <a:pt x="575" y="47"/>
                    <a:pt x="574" y="51"/>
                    <a:pt x="574" y="52"/>
                  </a:cubicBezTo>
                  <a:cubicBezTo>
                    <a:pt x="574" y="55"/>
                    <a:pt x="575" y="58"/>
                    <a:pt x="577" y="60"/>
                  </a:cubicBezTo>
                  <a:cubicBezTo>
                    <a:pt x="579" y="62"/>
                    <a:pt x="582" y="63"/>
                    <a:pt x="586" y="63"/>
                  </a:cubicBezTo>
                  <a:cubicBezTo>
                    <a:pt x="591" y="63"/>
                    <a:pt x="597" y="60"/>
                    <a:pt x="602" y="54"/>
                  </a:cubicBezTo>
                  <a:lnTo>
                    <a:pt x="600" y="62"/>
                  </a:lnTo>
                  <a:close/>
                  <a:moveTo>
                    <a:pt x="559" y="62"/>
                  </a:moveTo>
                  <a:cubicBezTo>
                    <a:pt x="565" y="34"/>
                    <a:pt x="565" y="34"/>
                    <a:pt x="565" y="34"/>
                  </a:cubicBezTo>
                  <a:cubicBezTo>
                    <a:pt x="569" y="17"/>
                    <a:pt x="569" y="17"/>
                    <a:pt x="569" y="17"/>
                  </a:cubicBezTo>
                  <a:cubicBezTo>
                    <a:pt x="561" y="17"/>
                    <a:pt x="561" y="17"/>
                    <a:pt x="561" y="17"/>
                  </a:cubicBezTo>
                  <a:cubicBezTo>
                    <a:pt x="557" y="34"/>
                    <a:pt x="557" y="34"/>
                    <a:pt x="557" y="34"/>
                  </a:cubicBezTo>
                  <a:cubicBezTo>
                    <a:pt x="552" y="62"/>
                    <a:pt x="552" y="62"/>
                    <a:pt x="552" y="62"/>
                  </a:cubicBezTo>
                  <a:lnTo>
                    <a:pt x="559" y="62"/>
                  </a:lnTo>
                  <a:close/>
                  <a:moveTo>
                    <a:pt x="570" y="9"/>
                  </a:moveTo>
                  <a:cubicBezTo>
                    <a:pt x="571" y="4"/>
                    <a:pt x="571" y="4"/>
                    <a:pt x="571" y="4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64" y="4"/>
                    <a:pt x="564" y="4"/>
                    <a:pt x="564" y="4"/>
                  </a:cubicBezTo>
                  <a:cubicBezTo>
                    <a:pt x="563" y="9"/>
                    <a:pt x="563" y="9"/>
                    <a:pt x="563" y="9"/>
                  </a:cubicBezTo>
                  <a:lnTo>
                    <a:pt x="570" y="9"/>
                  </a:lnTo>
                  <a:close/>
                  <a:moveTo>
                    <a:pt x="511" y="62"/>
                  </a:moveTo>
                  <a:cubicBezTo>
                    <a:pt x="515" y="41"/>
                    <a:pt x="515" y="41"/>
                    <a:pt x="515" y="41"/>
                  </a:cubicBezTo>
                  <a:cubicBezTo>
                    <a:pt x="517" y="34"/>
                    <a:pt x="519" y="29"/>
                    <a:pt x="522" y="26"/>
                  </a:cubicBezTo>
                  <a:cubicBezTo>
                    <a:pt x="525" y="24"/>
                    <a:pt x="529" y="22"/>
                    <a:pt x="533" y="22"/>
                  </a:cubicBezTo>
                  <a:cubicBezTo>
                    <a:pt x="535" y="22"/>
                    <a:pt x="536" y="23"/>
                    <a:pt x="537" y="24"/>
                  </a:cubicBezTo>
                  <a:cubicBezTo>
                    <a:pt x="538" y="25"/>
                    <a:pt x="539" y="26"/>
                    <a:pt x="539" y="27"/>
                  </a:cubicBezTo>
                  <a:cubicBezTo>
                    <a:pt x="539" y="29"/>
                    <a:pt x="538" y="31"/>
                    <a:pt x="538" y="33"/>
                  </a:cubicBezTo>
                  <a:cubicBezTo>
                    <a:pt x="532" y="62"/>
                    <a:pt x="532" y="62"/>
                    <a:pt x="532" y="62"/>
                  </a:cubicBezTo>
                  <a:cubicBezTo>
                    <a:pt x="539" y="62"/>
                    <a:pt x="539" y="62"/>
                    <a:pt x="539" y="62"/>
                  </a:cubicBezTo>
                  <a:cubicBezTo>
                    <a:pt x="545" y="35"/>
                    <a:pt x="545" y="35"/>
                    <a:pt x="545" y="35"/>
                  </a:cubicBezTo>
                  <a:cubicBezTo>
                    <a:pt x="546" y="31"/>
                    <a:pt x="546" y="28"/>
                    <a:pt x="546" y="27"/>
                  </a:cubicBezTo>
                  <a:cubicBezTo>
                    <a:pt x="546" y="24"/>
                    <a:pt x="545" y="21"/>
                    <a:pt x="543" y="19"/>
                  </a:cubicBezTo>
                  <a:cubicBezTo>
                    <a:pt x="541" y="17"/>
                    <a:pt x="538" y="16"/>
                    <a:pt x="535" y="16"/>
                  </a:cubicBezTo>
                  <a:cubicBezTo>
                    <a:pt x="532" y="16"/>
                    <a:pt x="529" y="17"/>
                    <a:pt x="527" y="18"/>
                  </a:cubicBezTo>
                  <a:cubicBezTo>
                    <a:pt x="524" y="19"/>
                    <a:pt x="521" y="22"/>
                    <a:pt x="518" y="25"/>
                  </a:cubicBezTo>
                  <a:cubicBezTo>
                    <a:pt x="520" y="17"/>
                    <a:pt x="520" y="17"/>
                    <a:pt x="520" y="17"/>
                  </a:cubicBezTo>
                  <a:cubicBezTo>
                    <a:pt x="513" y="17"/>
                    <a:pt x="513" y="17"/>
                    <a:pt x="513" y="17"/>
                  </a:cubicBezTo>
                  <a:cubicBezTo>
                    <a:pt x="504" y="62"/>
                    <a:pt x="504" y="62"/>
                    <a:pt x="504" y="62"/>
                  </a:cubicBezTo>
                  <a:lnTo>
                    <a:pt x="511" y="62"/>
                  </a:lnTo>
                  <a:close/>
                  <a:moveTo>
                    <a:pt x="491" y="62"/>
                  </a:moveTo>
                  <a:cubicBezTo>
                    <a:pt x="497" y="36"/>
                    <a:pt x="497" y="36"/>
                    <a:pt x="497" y="36"/>
                  </a:cubicBezTo>
                  <a:cubicBezTo>
                    <a:pt x="501" y="17"/>
                    <a:pt x="501" y="17"/>
                    <a:pt x="501" y="17"/>
                  </a:cubicBezTo>
                  <a:cubicBezTo>
                    <a:pt x="493" y="17"/>
                    <a:pt x="493" y="17"/>
                    <a:pt x="493" y="17"/>
                  </a:cubicBezTo>
                  <a:cubicBezTo>
                    <a:pt x="489" y="36"/>
                    <a:pt x="489" y="36"/>
                    <a:pt x="489" y="36"/>
                  </a:cubicBezTo>
                  <a:cubicBezTo>
                    <a:pt x="484" y="62"/>
                    <a:pt x="484" y="62"/>
                    <a:pt x="484" y="62"/>
                  </a:cubicBezTo>
                  <a:lnTo>
                    <a:pt x="491" y="62"/>
                  </a:lnTo>
                  <a:close/>
                  <a:moveTo>
                    <a:pt x="502" y="9"/>
                  </a:moveTo>
                  <a:cubicBezTo>
                    <a:pt x="503" y="5"/>
                    <a:pt x="503" y="5"/>
                    <a:pt x="503" y="5"/>
                  </a:cubicBezTo>
                  <a:cubicBezTo>
                    <a:pt x="504" y="0"/>
                    <a:pt x="504" y="0"/>
                    <a:pt x="504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96" y="4"/>
                    <a:pt x="496" y="4"/>
                    <a:pt x="496" y="4"/>
                  </a:cubicBezTo>
                  <a:cubicBezTo>
                    <a:pt x="495" y="9"/>
                    <a:pt x="495" y="9"/>
                    <a:pt x="495" y="9"/>
                  </a:cubicBezTo>
                  <a:lnTo>
                    <a:pt x="502" y="9"/>
                  </a:lnTo>
                  <a:close/>
                  <a:moveTo>
                    <a:pt x="419" y="62"/>
                  </a:moveTo>
                  <a:cubicBezTo>
                    <a:pt x="424" y="41"/>
                    <a:pt x="424" y="41"/>
                    <a:pt x="424" y="41"/>
                  </a:cubicBezTo>
                  <a:cubicBezTo>
                    <a:pt x="425" y="36"/>
                    <a:pt x="426" y="33"/>
                    <a:pt x="427" y="30"/>
                  </a:cubicBezTo>
                  <a:cubicBezTo>
                    <a:pt x="429" y="28"/>
                    <a:pt x="431" y="26"/>
                    <a:pt x="433" y="24"/>
                  </a:cubicBezTo>
                  <a:cubicBezTo>
                    <a:pt x="435" y="23"/>
                    <a:pt x="438" y="22"/>
                    <a:pt x="440" y="22"/>
                  </a:cubicBezTo>
                  <a:cubicBezTo>
                    <a:pt x="441" y="22"/>
                    <a:pt x="443" y="23"/>
                    <a:pt x="443" y="24"/>
                  </a:cubicBezTo>
                  <a:cubicBezTo>
                    <a:pt x="444" y="24"/>
                    <a:pt x="445" y="26"/>
                    <a:pt x="445" y="27"/>
                  </a:cubicBezTo>
                  <a:cubicBezTo>
                    <a:pt x="445" y="28"/>
                    <a:pt x="445" y="29"/>
                    <a:pt x="444" y="32"/>
                  </a:cubicBezTo>
                  <a:cubicBezTo>
                    <a:pt x="438" y="62"/>
                    <a:pt x="438" y="62"/>
                    <a:pt x="438" y="62"/>
                  </a:cubicBezTo>
                  <a:cubicBezTo>
                    <a:pt x="445" y="62"/>
                    <a:pt x="445" y="62"/>
                    <a:pt x="445" y="62"/>
                  </a:cubicBezTo>
                  <a:cubicBezTo>
                    <a:pt x="450" y="40"/>
                    <a:pt x="450" y="40"/>
                    <a:pt x="450" y="40"/>
                  </a:cubicBezTo>
                  <a:cubicBezTo>
                    <a:pt x="451" y="35"/>
                    <a:pt x="452" y="32"/>
                    <a:pt x="453" y="30"/>
                  </a:cubicBezTo>
                  <a:cubicBezTo>
                    <a:pt x="455" y="27"/>
                    <a:pt x="457" y="26"/>
                    <a:pt x="459" y="24"/>
                  </a:cubicBezTo>
                  <a:cubicBezTo>
                    <a:pt x="461" y="23"/>
                    <a:pt x="464" y="22"/>
                    <a:pt x="466" y="22"/>
                  </a:cubicBezTo>
                  <a:cubicBezTo>
                    <a:pt x="468" y="22"/>
                    <a:pt x="469" y="23"/>
                    <a:pt x="470" y="24"/>
                  </a:cubicBezTo>
                  <a:cubicBezTo>
                    <a:pt x="471" y="24"/>
                    <a:pt x="471" y="25"/>
                    <a:pt x="471" y="27"/>
                  </a:cubicBezTo>
                  <a:cubicBezTo>
                    <a:pt x="471" y="28"/>
                    <a:pt x="471" y="30"/>
                    <a:pt x="470" y="3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72" y="62"/>
                    <a:pt x="472" y="62"/>
                    <a:pt x="472" y="62"/>
                  </a:cubicBezTo>
                  <a:cubicBezTo>
                    <a:pt x="478" y="33"/>
                    <a:pt x="478" y="33"/>
                    <a:pt x="478" y="33"/>
                  </a:cubicBezTo>
                  <a:cubicBezTo>
                    <a:pt x="479" y="30"/>
                    <a:pt x="479" y="27"/>
                    <a:pt x="479" y="26"/>
                  </a:cubicBezTo>
                  <a:cubicBezTo>
                    <a:pt x="479" y="23"/>
                    <a:pt x="478" y="20"/>
                    <a:pt x="476" y="19"/>
                  </a:cubicBezTo>
                  <a:cubicBezTo>
                    <a:pt x="474" y="17"/>
                    <a:pt x="471" y="16"/>
                    <a:pt x="468" y="16"/>
                  </a:cubicBezTo>
                  <a:cubicBezTo>
                    <a:pt x="465" y="16"/>
                    <a:pt x="462" y="17"/>
                    <a:pt x="460" y="18"/>
                  </a:cubicBezTo>
                  <a:cubicBezTo>
                    <a:pt x="457" y="19"/>
                    <a:pt x="455" y="22"/>
                    <a:pt x="453" y="24"/>
                  </a:cubicBezTo>
                  <a:cubicBezTo>
                    <a:pt x="452" y="22"/>
                    <a:pt x="451" y="20"/>
                    <a:pt x="449" y="18"/>
                  </a:cubicBezTo>
                  <a:cubicBezTo>
                    <a:pt x="447" y="17"/>
                    <a:pt x="445" y="16"/>
                    <a:pt x="442" y="16"/>
                  </a:cubicBezTo>
                  <a:cubicBezTo>
                    <a:pt x="439" y="16"/>
                    <a:pt x="437" y="17"/>
                    <a:pt x="435" y="18"/>
                  </a:cubicBezTo>
                  <a:cubicBezTo>
                    <a:pt x="432" y="19"/>
                    <a:pt x="430" y="21"/>
                    <a:pt x="427" y="24"/>
                  </a:cubicBezTo>
                  <a:cubicBezTo>
                    <a:pt x="429" y="17"/>
                    <a:pt x="429" y="17"/>
                    <a:pt x="429" y="17"/>
                  </a:cubicBezTo>
                  <a:cubicBezTo>
                    <a:pt x="421" y="17"/>
                    <a:pt x="421" y="17"/>
                    <a:pt x="421" y="17"/>
                  </a:cubicBezTo>
                  <a:cubicBezTo>
                    <a:pt x="412" y="62"/>
                    <a:pt x="412" y="62"/>
                    <a:pt x="412" y="62"/>
                  </a:cubicBezTo>
                  <a:lnTo>
                    <a:pt x="419" y="62"/>
                  </a:lnTo>
                  <a:close/>
                  <a:moveTo>
                    <a:pt x="392" y="62"/>
                  </a:moveTo>
                  <a:cubicBezTo>
                    <a:pt x="399" y="62"/>
                    <a:pt x="399" y="62"/>
                    <a:pt x="399" y="62"/>
                  </a:cubicBezTo>
                  <a:cubicBezTo>
                    <a:pt x="408" y="17"/>
                    <a:pt x="408" y="17"/>
                    <a:pt x="408" y="17"/>
                  </a:cubicBezTo>
                  <a:cubicBezTo>
                    <a:pt x="401" y="17"/>
                    <a:pt x="401" y="17"/>
                    <a:pt x="401" y="17"/>
                  </a:cubicBezTo>
                  <a:cubicBezTo>
                    <a:pt x="397" y="36"/>
                    <a:pt x="397" y="36"/>
                    <a:pt x="397" y="36"/>
                  </a:cubicBezTo>
                  <a:cubicBezTo>
                    <a:pt x="396" y="40"/>
                    <a:pt x="395" y="43"/>
                    <a:pt x="395" y="44"/>
                  </a:cubicBezTo>
                  <a:cubicBezTo>
                    <a:pt x="394" y="47"/>
                    <a:pt x="392" y="49"/>
                    <a:pt x="391" y="51"/>
                  </a:cubicBezTo>
                  <a:cubicBezTo>
                    <a:pt x="390" y="52"/>
                    <a:pt x="388" y="54"/>
                    <a:pt x="386" y="55"/>
                  </a:cubicBezTo>
                  <a:cubicBezTo>
                    <a:pt x="384" y="56"/>
                    <a:pt x="382" y="56"/>
                    <a:pt x="379" y="56"/>
                  </a:cubicBezTo>
                  <a:cubicBezTo>
                    <a:pt x="377" y="56"/>
                    <a:pt x="376" y="56"/>
                    <a:pt x="375" y="55"/>
                  </a:cubicBezTo>
                  <a:cubicBezTo>
                    <a:pt x="374" y="54"/>
                    <a:pt x="373" y="53"/>
                    <a:pt x="373" y="51"/>
                  </a:cubicBezTo>
                  <a:cubicBezTo>
                    <a:pt x="373" y="50"/>
                    <a:pt x="374" y="48"/>
                    <a:pt x="374" y="46"/>
                  </a:cubicBezTo>
                  <a:cubicBezTo>
                    <a:pt x="380" y="17"/>
                    <a:pt x="380" y="17"/>
                    <a:pt x="380" y="1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7" y="43"/>
                    <a:pt x="367" y="43"/>
                    <a:pt x="367" y="43"/>
                  </a:cubicBezTo>
                  <a:cubicBezTo>
                    <a:pt x="366" y="47"/>
                    <a:pt x="366" y="51"/>
                    <a:pt x="366" y="52"/>
                  </a:cubicBezTo>
                  <a:cubicBezTo>
                    <a:pt x="366" y="55"/>
                    <a:pt x="367" y="58"/>
                    <a:pt x="369" y="60"/>
                  </a:cubicBezTo>
                  <a:cubicBezTo>
                    <a:pt x="371" y="62"/>
                    <a:pt x="374" y="63"/>
                    <a:pt x="377" y="63"/>
                  </a:cubicBezTo>
                  <a:cubicBezTo>
                    <a:pt x="383" y="63"/>
                    <a:pt x="388" y="60"/>
                    <a:pt x="394" y="54"/>
                  </a:cubicBezTo>
                  <a:lnTo>
                    <a:pt x="392" y="62"/>
                  </a:lnTo>
                  <a:close/>
                  <a:moveTo>
                    <a:pt x="351" y="62"/>
                  </a:moveTo>
                  <a:cubicBezTo>
                    <a:pt x="358" y="28"/>
                    <a:pt x="358" y="28"/>
                    <a:pt x="358" y="28"/>
                  </a:cubicBezTo>
                  <a:cubicBezTo>
                    <a:pt x="364" y="0"/>
                    <a:pt x="364" y="0"/>
                    <a:pt x="364" y="0"/>
                  </a:cubicBezTo>
                  <a:cubicBezTo>
                    <a:pt x="356" y="0"/>
                    <a:pt x="356" y="0"/>
                    <a:pt x="356" y="0"/>
                  </a:cubicBezTo>
                  <a:cubicBezTo>
                    <a:pt x="350" y="27"/>
                    <a:pt x="350" y="27"/>
                    <a:pt x="350" y="27"/>
                  </a:cubicBezTo>
                  <a:cubicBezTo>
                    <a:pt x="343" y="62"/>
                    <a:pt x="343" y="62"/>
                    <a:pt x="343" y="62"/>
                  </a:cubicBezTo>
                  <a:lnTo>
                    <a:pt x="351" y="62"/>
                  </a:lnTo>
                  <a:close/>
                  <a:moveTo>
                    <a:pt x="325" y="49"/>
                  </a:moveTo>
                  <a:cubicBezTo>
                    <a:pt x="324" y="52"/>
                    <a:pt x="322" y="53"/>
                    <a:pt x="319" y="55"/>
                  </a:cubicBezTo>
                  <a:cubicBezTo>
                    <a:pt x="317" y="56"/>
                    <a:pt x="315" y="57"/>
                    <a:pt x="312" y="57"/>
                  </a:cubicBezTo>
                  <a:cubicBezTo>
                    <a:pt x="309" y="57"/>
                    <a:pt x="307" y="56"/>
                    <a:pt x="306" y="55"/>
                  </a:cubicBezTo>
                  <a:cubicBezTo>
                    <a:pt x="304" y="53"/>
                    <a:pt x="304" y="52"/>
                    <a:pt x="304" y="49"/>
                  </a:cubicBezTo>
                  <a:cubicBezTo>
                    <a:pt x="304" y="48"/>
                    <a:pt x="304" y="46"/>
                    <a:pt x="305" y="45"/>
                  </a:cubicBezTo>
                  <a:cubicBezTo>
                    <a:pt x="306" y="44"/>
                    <a:pt x="307" y="43"/>
                    <a:pt x="309" y="42"/>
                  </a:cubicBezTo>
                  <a:cubicBezTo>
                    <a:pt x="311" y="42"/>
                    <a:pt x="314" y="41"/>
                    <a:pt x="319" y="41"/>
                  </a:cubicBezTo>
                  <a:cubicBezTo>
                    <a:pt x="321" y="40"/>
                    <a:pt x="323" y="40"/>
                    <a:pt x="325" y="40"/>
                  </a:cubicBezTo>
                  <a:cubicBezTo>
                    <a:pt x="326" y="40"/>
                    <a:pt x="327" y="39"/>
                    <a:pt x="328" y="39"/>
                  </a:cubicBezTo>
                  <a:cubicBezTo>
                    <a:pt x="327" y="43"/>
                    <a:pt x="326" y="47"/>
                    <a:pt x="325" y="49"/>
                  </a:cubicBezTo>
                  <a:moveTo>
                    <a:pt x="326" y="62"/>
                  </a:moveTo>
                  <a:cubicBezTo>
                    <a:pt x="334" y="62"/>
                    <a:pt x="334" y="62"/>
                    <a:pt x="334" y="62"/>
                  </a:cubicBezTo>
                  <a:cubicBezTo>
                    <a:pt x="333" y="59"/>
                    <a:pt x="333" y="57"/>
                    <a:pt x="333" y="56"/>
                  </a:cubicBezTo>
                  <a:cubicBezTo>
                    <a:pt x="333" y="53"/>
                    <a:pt x="333" y="51"/>
                    <a:pt x="334" y="47"/>
                  </a:cubicBezTo>
                  <a:cubicBezTo>
                    <a:pt x="337" y="36"/>
                    <a:pt x="337" y="36"/>
                    <a:pt x="337" y="36"/>
                  </a:cubicBezTo>
                  <a:cubicBezTo>
                    <a:pt x="337" y="33"/>
                    <a:pt x="338" y="30"/>
                    <a:pt x="338" y="28"/>
                  </a:cubicBezTo>
                  <a:cubicBezTo>
                    <a:pt x="338" y="24"/>
                    <a:pt x="336" y="22"/>
                    <a:pt x="334" y="20"/>
                  </a:cubicBezTo>
                  <a:cubicBezTo>
                    <a:pt x="331" y="17"/>
                    <a:pt x="326" y="16"/>
                    <a:pt x="321" y="16"/>
                  </a:cubicBezTo>
                  <a:cubicBezTo>
                    <a:pt x="316" y="16"/>
                    <a:pt x="311" y="17"/>
                    <a:pt x="308" y="20"/>
                  </a:cubicBezTo>
                  <a:cubicBezTo>
                    <a:pt x="305" y="22"/>
                    <a:pt x="302" y="25"/>
                    <a:pt x="300" y="30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309" y="28"/>
                    <a:pt x="311" y="26"/>
                    <a:pt x="313" y="24"/>
                  </a:cubicBezTo>
                  <a:cubicBezTo>
                    <a:pt x="315" y="23"/>
                    <a:pt x="317" y="22"/>
                    <a:pt x="320" y="22"/>
                  </a:cubicBezTo>
                  <a:cubicBezTo>
                    <a:pt x="324" y="22"/>
                    <a:pt x="326" y="23"/>
                    <a:pt x="328" y="24"/>
                  </a:cubicBezTo>
                  <a:cubicBezTo>
                    <a:pt x="330" y="25"/>
                    <a:pt x="330" y="27"/>
                    <a:pt x="330" y="28"/>
                  </a:cubicBezTo>
                  <a:cubicBezTo>
                    <a:pt x="330" y="30"/>
                    <a:pt x="330" y="32"/>
                    <a:pt x="329" y="34"/>
                  </a:cubicBezTo>
                  <a:cubicBezTo>
                    <a:pt x="327" y="34"/>
                    <a:pt x="324" y="35"/>
                    <a:pt x="319" y="35"/>
                  </a:cubicBezTo>
                  <a:cubicBezTo>
                    <a:pt x="314" y="35"/>
                    <a:pt x="311" y="36"/>
                    <a:pt x="309" y="36"/>
                  </a:cubicBezTo>
                  <a:cubicBezTo>
                    <a:pt x="307" y="36"/>
                    <a:pt x="304" y="37"/>
                    <a:pt x="302" y="38"/>
                  </a:cubicBezTo>
                  <a:cubicBezTo>
                    <a:pt x="300" y="40"/>
                    <a:pt x="299" y="41"/>
                    <a:pt x="298" y="43"/>
                  </a:cubicBezTo>
                  <a:cubicBezTo>
                    <a:pt x="297" y="45"/>
                    <a:pt x="296" y="47"/>
                    <a:pt x="296" y="50"/>
                  </a:cubicBezTo>
                  <a:cubicBezTo>
                    <a:pt x="296" y="54"/>
                    <a:pt x="297" y="57"/>
                    <a:pt x="300" y="59"/>
                  </a:cubicBezTo>
                  <a:cubicBezTo>
                    <a:pt x="302" y="62"/>
                    <a:pt x="306" y="63"/>
                    <a:pt x="310" y="63"/>
                  </a:cubicBezTo>
                  <a:cubicBezTo>
                    <a:pt x="313" y="63"/>
                    <a:pt x="315" y="62"/>
                    <a:pt x="318" y="61"/>
                  </a:cubicBezTo>
                  <a:cubicBezTo>
                    <a:pt x="320" y="60"/>
                    <a:pt x="323" y="58"/>
                    <a:pt x="325" y="56"/>
                  </a:cubicBezTo>
                  <a:cubicBezTo>
                    <a:pt x="325" y="58"/>
                    <a:pt x="326" y="60"/>
                    <a:pt x="326" y="62"/>
                  </a:cubicBezTo>
                  <a:moveTo>
                    <a:pt x="239" y="25"/>
                  </a:moveTo>
                  <a:cubicBezTo>
                    <a:pt x="242" y="23"/>
                    <a:pt x="245" y="22"/>
                    <a:pt x="248" y="22"/>
                  </a:cubicBezTo>
                  <a:cubicBezTo>
                    <a:pt x="251" y="22"/>
                    <a:pt x="253" y="23"/>
                    <a:pt x="255" y="25"/>
                  </a:cubicBezTo>
                  <a:cubicBezTo>
                    <a:pt x="257" y="27"/>
                    <a:pt x="258" y="30"/>
                    <a:pt x="258" y="34"/>
                  </a:cubicBezTo>
                  <a:cubicBezTo>
                    <a:pt x="258" y="34"/>
                    <a:pt x="258" y="35"/>
                    <a:pt x="258" y="35"/>
                  </a:cubicBezTo>
                  <a:cubicBezTo>
                    <a:pt x="233" y="35"/>
                    <a:pt x="233" y="35"/>
                    <a:pt x="233" y="35"/>
                  </a:cubicBezTo>
                  <a:cubicBezTo>
                    <a:pt x="234" y="31"/>
                    <a:pt x="236" y="28"/>
                    <a:pt x="239" y="25"/>
                  </a:cubicBezTo>
                  <a:moveTo>
                    <a:pt x="249" y="54"/>
                  </a:moveTo>
                  <a:cubicBezTo>
                    <a:pt x="247" y="56"/>
                    <a:pt x="244" y="56"/>
                    <a:pt x="242" y="56"/>
                  </a:cubicBezTo>
                  <a:cubicBezTo>
                    <a:pt x="239" y="56"/>
                    <a:pt x="236" y="55"/>
                    <a:pt x="235" y="53"/>
                  </a:cubicBezTo>
                  <a:cubicBezTo>
                    <a:pt x="233" y="51"/>
                    <a:pt x="232" y="48"/>
                    <a:pt x="232" y="44"/>
                  </a:cubicBezTo>
                  <a:cubicBezTo>
                    <a:pt x="232" y="43"/>
                    <a:pt x="232" y="42"/>
                    <a:pt x="232" y="41"/>
                  </a:cubicBezTo>
                  <a:cubicBezTo>
                    <a:pt x="265" y="41"/>
                    <a:pt x="265" y="41"/>
                    <a:pt x="265" y="41"/>
                  </a:cubicBezTo>
                  <a:cubicBezTo>
                    <a:pt x="265" y="39"/>
                    <a:pt x="265" y="37"/>
                    <a:pt x="265" y="35"/>
                  </a:cubicBezTo>
                  <a:cubicBezTo>
                    <a:pt x="265" y="29"/>
                    <a:pt x="264" y="24"/>
                    <a:pt x="261" y="21"/>
                  </a:cubicBezTo>
                  <a:cubicBezTo>
                    <a:pt x="257" y="18"/>
                    <a:pt x="253" y="16"/>
                    <a:pt x="248" y="16"/>
                  </a:cubicBezTo>
                  <a:cubicBezTo>
                    <a:pt x="244" y="16"/>
                    <a:pt x="240" y="17"/>
                    <a:pt x="236" y="19"/>
                  </a:cubicBezTo>
                  <a:cubicBezTo>
                    <a:pt x="233" y="22"/>
                    <a:pt x="230" y="25"/>
                    <a:pt x="227" y="30"/>
                  </a:cubicBezTo>
                  <a:cubicBezTo>
                    <a:pt x="225" y="34"/>
                    <a:pt x="224" y="39"/>
                    <a:pt x="224" y="44"/>
                  </a:cubicBezTo>
                  <a:cubicBezTo>
                    <a:pt x="224" y="48"/>
                    <a:pt x="225" y="51"/>
                    <a:pt x="226" y="54"/>
                  </a:cubicBezTo>
                  <a:cubicBezTo>
                    <a:pt x="228" y="57"/>
                    <a:pt x="230" y="59"/>
                    <a:pt x="232" y="60"/>
                  </a:cubicBezTo>
                  <a:cubicBezTo>
                    <a:pt x="235" y="62"/>
                    <a:pt x="238" y="63"/>
                    <a:pt x="242" y="63"/>
                  </a:cubicBezTo>
                  <a:cubicBezTo>
                    <a:pt x="247" y="63"/>
                    <a:pt x="251" y="61"/>
                    <a:pt x="255" y="58"/>
                  </a:cubicBezTo>
                  <a:cubicBezTo>
                    <a:pt x="259" y="54"/>
                    <a:pt x="262" y="51"/>
                    <a:pt x="263" y="47"/>
                  </a:cubicBezTo>
                  <a:cubicBezTo>
                    <a:pt x="255" y="47"/>
                    <a:pt x="255" y="47"/>
                    <a:pt x="255" y="47"/>
                  </a:cubicBezTo>
                  <a:cubicBezTo>
                    <a:pt x="254" y="50"/>
                    <a:pt x="252" y="52"/>
                    <a:pt x="249" y="54"/>
                  </a:cubicBezTo>
                  <a:moveTo>
                    <a:pt x="200" y="62"/>
                  </a:moveTo>
                  <a:cubicBezTo>
                    <a:pt x="204" y="44"/>
                    <a:pt x="204" y="44"/>
                    <a:pt x="204" y="44"/>
                  </a:cubicBezTo>
                  <a:cubicBezTo>
                    <a:pt x="206" y="36"/>
                    <a:pt x="208" y="31"/>
                    <a:pt x="211" y="28"/>
                  </a:cubicBezTo>
                  <a:cubicBezTo>
                    <a:pt x="214" y="25"/>
                    <a:pt x="216" y="23"/>
                    <a:pt x="219" y="23"/>
                  </a:cubicBezTo>
                  <a:cubicBezTo>
                    <a:pt x="221" y="23"/>
                    <a:pt x="222" y="24"/>
                    <a:pt x="223" y="25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4" y="17"/>
                    <a:pt x="222" y="16"/>
                    <a:pt x="221" y="16"/>
                  </a:cubicBezTo>
                  <a:cubicBezTo>
                    <a:pt x="219" y="16"/>
                    <a:pt x="216" y="17"/>
                    <a:pt x="214" y="18"/>
                  </a:cubicBezTo>
                  <a:cubicBezTo>
                    <a:pt x="212" y="20"/>
                    <a:pt x="210" y="23"/>
                    <a:pt x="207" y="26"/>
                  </a:cubicBezTo>
                  <a:cubicBezTo>
                    <a:pt x="209" y="17"/>
                    <a:pt x="209" y="17"/>
                    <a:pt x="209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3" y="62"/>
                    <a:pt x="193" y="62"/>
                    <a:pt x="193" y="62"/>
                  </a:cubicBezTo>
                  <a:lnTo>
                    <a:pt x="200" y="62"/>
                  </a:lnTo>
                  <a:close/>
                  <a:moveTo>
                    <a:pt x="175" y="49"/>
                  </a:moveTo>
                  <a:cubicBezTo>
                    <a:pt x="173" y="52"/>
                    <a:pt x="171" y="53"/>
                    <a:pt x="169" y="55"/>
                  </a:cubicBezTo>
                  <a:cubicBezTo>
                    <a:pt x="167" y="56"/>
                    <a:pt x="164" y="57"/>
                    <a:pt x="162" y="57"/>
                  </a:cubicBezTo>
                  <a:cubicBezTo>
                    <a:pt x="159" y="57"/>
                    <a:pt x="157" y="56"/>
                    <a:pt x="155" y="55"/>
                  </a:cubicBezTo>
                  <a:cubicBezTo>
                    <a:pt x="154" y="53"/>
                    <a:pt x="153" y="52"/>
                    <a:pt x="153" y="49"/>
                  </a:cubicBezTo>
                  <a:cubicBezTo>
                    <a:pt x="153" y="48"/>
                    <a:pt x="154" y="46"/>
                    <a:pt x="155" y="45"/>
                  </a:cubicBezTo>
                  <a:cubicBezTo>
                    <a:pt x="156" y="44"/>
                    <a:pt x="157" y="43"/>
                    <a:pt x="159" y="42"/>
                  </a:cubicBezTo>
                  <a:cubicBezTo>
                    <a:pt x="161" y="42"/>
                    <a:pt x="164" y="41"/>
                    <a:pt x="168" y="41"/>
                  </a:cubicBezTo>
                  <a:cubicBezTo>
                    <a:pt x="171" y="40"/>
                    <a:pt x="173" y="40"/>
                    <a:pt x="174" y="40"/>
                  </a:cubicBezTo>
                  <a:cubicBezTo>
                    <a:pt x="176" y="40"/>
                    <a:pt x="177" y="39"/>
                    <a:pt x="178" y="39"/>
                  </a:cubicBezTo>
                  <a:cubicBezTo>
                    <a:pt x="177" y="43"/>
                    <a:pt x="176" y="47"/>
                    <a:pt x="175" y="49"/>
                  </a:cubicBezTo>
                  <a:moveTo>
                    <a:pt x="176" y="62"/>
                  </a:moveTo>
                  <a:cubicBezTo>
                    <a:pt x="184" y="62"/>
                    <a:pt x="184" y="62"/>
                    <a:pt x="184" y="62"/>
                  </a:cubicBezTo>
                  <a:cubicBezTo>
                    <a:pt x="183" y="59"/>
                    <a:pt x="183" y="57"/>
                    <a:pt x="183" y="56"/>
                  </a:cubicBezTo>
                  <a:cubicBezTo>
                    <a:pt x="183" y="53"/>
                    <a:pt x="183" y="51"/>
                    <a:pt x="184" y="47"/>
                  </a:cubicBezTo>
                  <a:cubicBezTo>
                    <a:pt x="186" y="36"/>
                    <a:pt x="186" y="36"/>
                    <a:pt x="186" y="36"/>
                  </a:cubicBezTo>
                  <a:cubicBezTo>
                    <a:pt x="187" y="33"/>
                    <a:pt x="187" y="30"/>
                    <a:pt x="187" y="28"/>
                  </a:cubicBezTo>
                  <a:cubicBezTo>
                    <a:pt x="187" y="24"/>
                    <a:pt x="186" y="22"/>
                    <a:pt x="184" y="20"/>
                  </a:cubicBezTo>
                  <a:cubicBezTo>
                    <a:pt x="180" y="17"/>
                    <a:pt x="176" y="16"/>
                    <a:pt x="170" y="16"/>
                  </a:cubicBezTo>
                  <a:cubicBezTo>
                    <a:pt x="165" y="16"/>
                    <a:pt x="161" y="17"/>
                    <a:pt x="158" y="20"/>
                  </a:cubicBezTo>
                  <a:cubicBezTo>
                    <a:pt x="154" y="22"/>
                    <a:pt x="152" y="25"/>
                    <a:pt x="150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28"/>
                    <a:pt x="160" y="26"/>
                    <a:pt x="162" y="24"/>
                  </a:cubicBezTo>
                  <a:cubicBezTo>
                    <a:pt x="164" y="23"/>
                    <a:pt x="167" y="22"/>
                    <a:pt x="170" y="22"/>
                  </a:cubicBezTo>
                  <a:cubicBezTo>
                    <a:pt x="173" y="22"/>
                    <a:pt x="176" y="23"/>
                    <a:pt x="178" y="24"/>
                  </a:cubicBezTo>
                  <a:cubicBezTo>
                    <a:pt x="179" y="25"/>
                    <a:pt x="180" y="27"/>
                    <a:pt x="180" y="28"/>
                  </a:cubicBezTo>
                  <a:cubicBezTo>
                    <a:pt x="180" y="30"/>
                    <a:pt x="179" y="32"/>
                    <a:pt x="179" y="34"/>
                  </a:cubicBezTo>
                  <a:cubicBezTo>
                    <a:pt x="177" y="34"/>
                    <a:pt x="173" y="35"/>
                    <a:pt x="169" y="35"/>
                  </a:cubicBezTo>
                  <a:cubicBezTo>
                    <a:pt x="164" y="35"/>
                    <a:pt x="161" y="36"/>
                    <a:pt x="159" y="36"/>
                  </a:cubicBezTo>
                  <a:cubicBezTo>
                    <a:pt x="156" y="36"/>
                    <a:pt x="154" y="37"/>
                    <a:pt x="152" y="38"/>
                  </a:cubicBezTo>
                  <a:cubicBezTo>
                    <a:pt x="150" y="40"/>
                    <a:pt x="149" y="41"/>
                    <a:pt x="147" y="43"/>
                  </a:cubicBezTo>
                  <a:cubicBezTo>
                    <a:pt x="146" y="45"/>
                    <a:pt x="146" y="47"/>
                    <a:pt x="146" y="50"/>
                  </a:cubicBezTo>
                  <a:cubicBezTo>
                    <a:pt x="146" y="54"/>
                    <a:pt x="147" y="57"/>
                    <a:pt x="149" y="59"/>
                  </a:cubicBezTo>
                  <a:cubicBezTo>
                    <a:pt x="152" y="62"/>
                    <a:pt x="155" y="63"/>
                    <a:pt x="159" y="63"/>
                  </a:cubicBezTo>
                  <a:cubicBezTo>
                    <a:pt x="162" y="63"/>
                    <a:pt x="165" y="62"/>
                    <a:pt x="167" y="61"/>
                  </a:cubicBezTo>
                  <a:cubicBezTo>
                    <a:pt x="170" y="60"/>
                    <a:pt x="172" y="58"/>
                    <a:pt x="175" y="56"/>
                  </a:cubicBezTo>
                  <a:cubicBezTo>
                    <a:pt x="175" y="58"/>
                    <a:pt x="175" y="60"/>
                    <a:pt x="176" y="62"/>
                  </a:cubicBezTo>
                  <a:moveTo>
                    <a:pt x="89" y="25"/>
                  </a:moveTo>
                  <a:cubicBezTo>
                    <a:pt x="91" y="23"/>
                    <a:pt x="94" y="22"/>
                    <a:pt x="98" y="22"/>
                  </a:cubicBezTo>
                  <a:cubicBezTo>
                    <a:pt x="101" y="22"/>
                    <a:pt x="103" y="23"/>
                    <a:pt x="105" y="25"/>
                  </a:cubicBezTo>
                  <a:cubicBezTo>
                    <a:pt x="107" y="27"/>
                    <a:pt x="108" y="30"/>
                    <a:pt x="108" y="34"/>
                  </a:cubicBezTo>
                  <a:cubicBezTo>
                    <a:pt x="108" y="34"/>
                    <a:pt x="108" y="35"/>
                    <a:pt x="108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4" y="31"/>
                    <a:pt x="86" y="28"/>
                    <a:pt x="89" y="25"/>
                  </a:cubicBezTo>
                  <a:moveTo>
                    <a:pt x="99" y="54"/>
                  </a:moveTo>
                  <a:cubicBezTo>
                    <a:pt x="96" y="56"/>
                    <a:pt x="94" y="56"/>
                    <a:pt x="91" y="56"/>
                  </a:cubicBezTo>
                  <a:cubicBezTo>
                    <a:pt x="88" y="56"/>
                    <a:pt x="86" y="55"/>
                    <a:pt x="84" y="53"/>
                  </a:cubicBezTo>
                  <a:cubicBezTo>
                    <a:pt x="82" y="51"/>
                    <a:pt x="81" y="48"/>
                    <a:pt x="81" y="44"/>
                  </a:cubicBezTo>
                  <a:cubicBezTo>
                    <a:pt x="81" y="43"/>
                    <a:pt x="81" y="42"/>
                    <a:pt x="81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39"/>
                    <a:pt x="115" y="37"/>
                    <a:pt x="115" y="35"/>
                  </a:cubicBezTo>
                  <a:cubicBezTo>
                    <a:pt x="115" y="29"/>
                    <a:pt x="113" y="24"/>
                    <a:pt x="110" y="21"/>
                  </a:cubicBezTo>
                  <a:cubicBezTo>
                    <a:pt x="107" y="18"/>
                    <a:pt x="103" y="16"/>
                    <a:pt x="97" y="16"/>
                  </a:cubicBezTo>
                  <a:cubicBezTo>
                    <a:pt x="93" y="16"/>
                    <a:pt x="89" y="17"/>
                    <a:pt x="86" y="19"/>
                  </a:cubicBezTo>
                  <a:cubicBezTo>
                    <a:pt x="82" y="22"/>
                    <a:pt x="79" y="25"/>
                    <a:pt x="77" y="30"/>
                  </a:cubicBezTo>
                  <a:cubicBezTo>
                    <a:pt x="75" y="34"/>
                    <a:pt x="74" y="39"/>
                    <a:pt x="74" y="44"/>
                  </a:cubicBezTo>
                  <a:cubicBezTo>
                    <a:pt x="74" y="48"/>
                    <a:pt x="74" y="51"/>
                    <a:pt x="76" y="54"/>
                  </a:cubicBezTo>
                  <a:cubicBezTo>
                    <a:pt x="77" y="57"/>
                    <a:pt x="79" y="59"/>
                    <a:pt x="82" y="60"/>
                  </a:cubicBezTo>
                  <a:cubicBezTo>
                    <a:pt x="85" y="62"/>
                    <a:pt x="88" y="63"/>
                    <a:pt x="91" y="63"/>
                  </a:cubicBezTo>
                  <a:cubicBezTo>
                    <a:pt x="96" y="63"/>
                    <a:pt x="101" y="61"/>
                    <a:pt x="105" y="58"/>
                  </a:cubicBezTo>
                  <a:cubicBezTo>
                    <a:pt x="109" y="54"/>
                    <a:pt x="111" y="51"/>
                    <a:pt x="112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3" y="50"/>
                    <a:pt x="101" y="52"/>
                    <a:pt x="99" y="54"/>
                  </a:cubicBezTo>
                  <a:moveTo>
                    <a:pt x="12" y="6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4" y="19"/>
                    <a:pt x="36" y="16"/>
                    <a:pt x="38" y="13"/>
                  </a:cubicBezTo>
                  <a:cubicBezTo>
                    <a:pt x="38" y="17"/>
                    <a:pt x="38" y="21"/>
                    <a:pt x="38" y="24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3" y="37"/>
                    <a:pt x="52" y="40"/>
                    <a:pt x="50" y="45"/>
                  </a:cubicBezTo>
                  <a:cubicBezTo>
                    <a:pt x="48" y="47"/>
                    <a:pt x="48" y="50"/>
                    <a:pt x="47" y="51"/>
                  </a:cubicBezTo>
                  <a:cubicBezTo>
                    <a:pt x="47" y="45"/>
                    <a:pt x="47" y="40"/>
                    <a:pt x="47" y="3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8"/>
                    <a:pt x="13" y="43"/>
                    <a:pt x="10" y="50"/>
                  </a:cubicBezTo>
                  <a:cubicBezTo>
                    <a:pt x="10" y="48"/>
                    <a:pt x="10" y="47"/>
                    <a:pt x="10" y="46"/>
                  </a:cubicBezTo>
                  <a:cubicBezTo>
                    <a:pt x="10" y="45"/>
                    <a:pt x="10" y="44"/>
                    <a:pt x="10" y="42"/>
                  </a:cubicBezTo>
                  <a:cubicBezTo>
                    <a:pt x="10" y="36"/>
                    <a:pt x="9" y="32"/>
                    <a:pt x="9" y="3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62"/>
                    <a:pt x="3" y="62"/>
                    <a:pt x="3" y="62"/>
                  </a:cubicBezTo>
                  <a:lnTo>
                    <a:pt x="1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94A81AE7-89B1-4C9A-BEB0-68351ECC3E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5745" y="6127769"/>
            <a:ext cx="2259101" cy="204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27391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149900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E3710-5934-452F-91DC-F4F2FD6AE559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pt-BR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028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rgbClr val="8C8C8C"/>
                </a:solidFill>
              </a:rPr>
              <a:t>@</a:t>
            </a:r>
            <a:r>
              <a:rPr lang="en-US" sz="1000" err="1">
                <a:solidFill>
                  <a:srgbClr val="8C8C8C"/>
                </a:solidFill>
              </a:rPr>
              <a:t>Eurometaux</a:t>
            </a:r>
            <a:endParaRPr lang="en-US" sz="1000">
              <a:solidFill>
                <a:srgbClr val="8C8C8C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>
                <a:solidFill>
                  <a:srgbClr val="000000">
                    <a:tint val="75000"/>
                  </a:srgbClr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3/11/2021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607857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Repor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000" y="475200"/>
            <a:ext cx="10843200" cy="35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0" tIns="0" rIns="0" bIns="0">
            <a:noAutofit/>
          </a:bodyPr>
          <a:lstStyle>
            <a:lvl1pPr>
              <a:defRPr sz="1400"/>
            </a:lvl1pPr>
            <a:lvl2pPr marL="450000">
              <a:defRPr sz="1400"/>
            </a:lvl2pPr>
            <a:lvl3pPr marL="720000" indent="-180000">
              <a:defRPr sz="1400"/>
            </a:lvl3pPr>
            <a:lvl4pPr>
              <a:defRPr sz="1400"/>
            </a:lvl4pPr>
            <a:lvl5pPr marL="1260000"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tint val="75000"/>
                  </a:srgbClr>
                </a:solidFill>
              </a:rPr>
              <a:t>27 January 2017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Glennmont Partners - Multi country worksho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>
                <a:solidFill>
                  <a:srgbClr val="000000"/>
                </a:solidFill>
              </a:rPr>
              <a:t>COPYRIGHT©PÖYRY</a:t>
            </a:r>
          </a:p>
        </p:txBody>
      </p:sp>
      <p:sp>
        <p:nvSpPr>
          <p:cNvPr id="10" name="Line 17"/>
          <p:cNvSpPr>
            <a:spLocks noChangeShapeType="1"/>
          </p:cNvSpPr>
          <p:nvPr userDrawn="1"/>
        </p:nvSpPr>
        <p:spPr bwMode="auto">
          <a:xfrm>
            <a:off x="239184" y="6315075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>
              <a:solidFill>
                <a:srgbClr val="000000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8" y="979200"/>
            <a:ext cx="1085003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/>
              <a:t>Space for short optional subtitle/summary, 1 sentence, 1-2 lines, no dot at the end </a:t>
            </a:r>
          </a:p>
        </p:txBody>
      </p:sp>
    </p:spTree>
    <p:extLst>
      <p:ext uri="{BB962C8B-B14F-4D97-AF65-F5344CB8AC3E}">
        <p14:creationId xmlns:p14="http://schemas.microsoft.com/office/powerpoint/2010/main" val="52610137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9816181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1728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58248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47621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38318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56676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08160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33428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19215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49869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17619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803797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52133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52134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4C02-3EB0-C144-9A3C-BD4CED911644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7598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37183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85777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85778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1" y="713860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4AA79FE-AF15-944B-9C9D-465FC618F8EB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</a:t>
            </a:r>
            <a:r>
              <a:rPr lang="en-US" sz="1000" b="0" kern="1200" baseline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awMaterialsEU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47953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71709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71710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103C3FD-7F0E-7644-80D4-CCED83391624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59985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16232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29507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8538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E1DA31-C311-924E-A86B-9273EF06EDC3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23536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26723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26724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4716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906AA6-DA8B-7340-A034-2426B40EF53E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01973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819888" y="700137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15439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50607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50608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10343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1BD17F-A655-0042-8FA4-747A40562ED0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77624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71709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71710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1" y="7124532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B4F00D-1D34-DB43-B57A-076D11B9561A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75051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8026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80269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33091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D1982F-AE96-A649-BF13-315939BA0B37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5996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1543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15439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7068261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7BDC03-CE0E-7D47-BBC4-37924FCE82C7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03156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94336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94337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1" y="7047159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E18A21-3309-464D-9DF4-023865A2AAA1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577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90408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0A5F62-86B3-6A4C-966F-819E653A0D4C}" type="datetimeFigureOut">
              <a:rPr lang="en-US" smtClean="0"/>
              <a:t>3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CF276-35D3-8240-B922-7803D16BE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07341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52133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52134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4C02-3EB0-C144-9A3C-BD4CED911644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700722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85777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85778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1" y="713860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4AA79FE-AF15-944B-9C9D-465FC618F8EB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</a:t>
            </a:r>
            <a:r>
              <a:rPr lang="en-US" sz="1000" b="0" kern="1200" baseline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awMaterialsEU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21835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71709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71710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103C3FD-7F0E-7644-80D4-CCED83391624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55189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16232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29507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8538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E1DA31-C311-924E-A86B-9273EF06EDC3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7474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26723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26724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4716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906AA6-DA8B-7340-A034-2426B40EF53E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21877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819888" y="700137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42125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50607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50608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10343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1BD17F-A655-0042-8FA4-747A40562ED0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915370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71709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71710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1" y="7124532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B4F00D-1D34-DB43-B57A-076D11B9561A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98005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8026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80269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33091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D1982F-AE96-A649-BF13-315939BA0B37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147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10593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1543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15439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7068261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7BDC03-CE0E-7D47-BBC4-37924FCE82C7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13013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94336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94337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1" y="7047159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E18A21-3309-464D-9DF4-023865A2AAA1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9086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593135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753860"/>
            <a:ext cx="1575054" cy="222885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245" y="375954"/>
            <a:ext cx="1739900" cy="304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175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058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89393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0589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22133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ltGray">
          <a:xfrm>
            <a:off x="-1" y="3667101"/>
            <a:ext cx="3037525" cy="318765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3107062" y="3667101"/>
            <a:ext cx="2944223" cy="318765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6120930" y="3667101"/>
            <a:ext cx="2985689" cy="318765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ltGray">
          <a:xfrm>
            <a:off x="9164839" y="3667101"/>
            <a:ext cx="3037525" cy="318765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9" cstate="print">
            <a:clrChange>
              <a:clrFrom>
                <a:srgbClr val="EEF3FA"/>
              </a:clrFrom>
              <a:clrTo>
                <a:srgbClr val="EEF3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05" t="30269" r="26331" b="13254"/>
          <a:stretch/>
        </p:blipFill>
        <p:spPr bwMode="ltGray">
          <a:xfrm>
            <a:off x="212739" y="95546"/>
            <a:ext cx="2019223" cy="1156542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2444699" y="18930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816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2444700" y="31491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>
                <a:solidFill>
                  <a:srgbClr val="000000"/>
                </a:solidFill>
                <a:latin typeface="Arial"/>
              </a:rPr>
              <a:t>Last Modified 23/6/2017 5:58 μμ GTB Standard Time</a:t>
            </a:r>
            <a:endParaRPr sz="81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2444699" y="44052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>
                <a:solidFill>
                  <a:srgbClr val="000000"/>
                </a:solidFill>
                <a:latin typeface="Arial"/>
              </a:rPr>
              <a:t>Printed 22/6/2017 4:26 μμ GTB Standard Time</a:t>
            </a:r>
            <a:endParaRPr sz="81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212739" y="1461744"/>
            <a:ext cx="11196543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212739" y="2500981"/>
            <a:ext cx="1119654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212739" y="3253212"/>
            <a:ext cx="1119654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1428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48791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0" y="38874"/>
            <a:ext cx="12192000" cy="46648"/>
          </a:xfrm>
          <a:prstGeom prst="rect">
            <a:avLst/>
          </a:prstGeom>
          <a:gradFill flip="none" rotWithShape="1">
            <a:gsLst>
              <a:gs pos="0">
                <a:srgbClr val="EBEDEF"/>
              </a:gs>
              <a:gs pos="100000">
                <a:srgbClr val="156297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 bwMode="ltGray">
          <a:xfrm>
            <a:off x="3048451" y="3680404"/>
            <a:ext cx="6112251" cy="3177596"/>
            <a:chOff x="2240691" y="3607137"/>
            <a:chExt cx="4492664" cy="3114338"/>
          </a:xfrm>
        </p:grpSpPr>
        <p:sp>
          <p:nvSpPr>
            <p:cNvPr id="2" name="Rectangle 1"/>
            <p:cNvSpPr/>
            <p:nvPr userDrawn="1"/>
          </p:nvSpPr>
          <p:spPr bwMode="ltGray">
            <a:xfrm>
              <a:off x="2240691" y="3607137"/>
              <a:ext cx="49427" cy="311433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rgbClr val="000000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ltGray">
            <a:xfrm>
              <a:off x="4462310" y="3607137"/>
              <a:ext cx="49427" cy="311433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rgbClr val="000000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ltGray">
            <a:xfrm>
              <a:off x="6683928" y="3607137"/>
              <a:ext cx="49427" cy="311433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15"/>
          <p:cNvSpPr/>
          <p:nvPr userDrawn="1"/>
        </p:nvSpPr>
        <p:spPr bwMode="ltGray">
          <a:xfrm flipH="1">
            <a:off x="0" y="3633757"/>
            <a:ext cx="12192000" cy="46648"/>
          </a:xfrm>
          <a:prstGeom prst="rect">
            <a:avLst/>
          </a:prstGeom>
          <a:gradFill flip="none" rotWithShape="1">
            <a:gsLst>
              <a:gs pos="0">
                <a:srgbClr val="EBEDEF"/>
              </a:gs>
              <a:gs pos="100000">
                <a:srgbClr val="156297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269962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31367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1500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rstar Online Imag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032BE2-4BB1-4C7A-AF24-6C6C994913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17692" y="6420235"/>
            <a:ext cx="415811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8F1CD4-6009-4109-81A7-9A135ED188E8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Title Placeholder 5">
            <a:extLst>
              <a:ext uri="{FF2B5EF4-FFF2-40B4-BE49-F238E27FC236}">
                <a16:creationId xmlns:a16="http://schemas.microsoft.com/office/drawing/2014/main" id="{1858DBB7-C884-4D2E-AD76-F0D097CE4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643" y="551720"/>
            <a:ext cx="10445393" cy="5799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ype Headline here</a:t>
            </a:r>
            <a:endParaRPr lang="en-A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04BDAA-36AF-4638-AA71-3AC1784624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575" y="1458913"/>
            <a:ext cx="5559425" cy="4627562"/>
          </a:xfrm>
          <a:prstGeom prst="rect">
            <a:avLst/>
          </a:prstGeom>
        </p:spPr>
        <p:txBody>
          <a:bodyPr/>
          <a:lstStyle>
            <a:lvl2pPr marL="685800" indent="-228600">
              <a:buClr>
                <a:srgbClr val="00B0F0"/>
              </a:buClr>
              <a:buFont typeface="Calibri" panose="020F0502020204030204" pitchFamily="34" charset="0"/>
              <a:buChar char="‒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00B0F0"/>
              </a:buClr>
              <a:buFont typeface="Calibri" panose="020F0502020204030204" pitchFamily="34" charset="0"/>
              <a:buChar char="‒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00B0F0"/>
              </a:buClr>
              <a:buFont typeface="Calibri" panose="020F0502020204030204" pitchFamily="34" charset="0"/>
              <a:buChar char="‒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00B0F0"/>
              </a:buClr>
              <a:buFont typeface="Calibri" panose="020F0502020204030204" pitchFamily="34" charset="0"/>
              <a:buChar char="‒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Online Image Placeholder 5">
            <a:extLst>
              <a:ext uri="{FF2B5EF4-FFF2-40B4-BE49-F238E27FC236}">
                <a16:creationId xmlns:a16="http://schemas.microsoft.com/office/drawing/2014/main" id="{E1001D0B-F3E2-447F-BD0A-8952C1432C71}"/>
              </a:ext>
            </a:extLst>
          </p:cNvPr>
          <p:cNvSpPr>
            <a:spLocks noGrp="1"/>
          </p:cNvSpPr>
          <p:nvPr>
            <p:ph type="clipArt" sz="quarter" idx="16"/>
          </p:nvPr>
        </p:nvSpPr>
        <p:spPr>
          <a:xfrm>
            <a:off x="6197600" y="1458913"/>
            <a:ext cx="5745163" cy="4627562"/>
          </a:xfrm>
          <a:prstGeom prst="rect">
            <a:avLst/>
          </a:prstGeo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568346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234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24251319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45845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411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623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4696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4332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7899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3826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6986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0587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0567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5341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472488" y="1219200"/>
            <a:ext cx="110744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800" kern="120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>
              <a:defRPr lang="en-US" sz="135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</a:lstStyle>
          <a:p>
            <a:pPr marL="169069" lvl="0" indent="-16906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Click to edit Master text styles</a:t>
            </a:r>
          </a:p>
          <a:p>
            <a:pPr marL="347663" lvl="1" indent="-173831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Second level</a:t>
            </a:r>
          </a:p>
          <a:p>
            <a:pPr marL="466725" lvl="2" indent="-119063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•"/>
            </a:pPr>
            <a:r>
              <a:rPr lang="en-US" dirty="0"/>
              <a:t>Third level</a:t>
            </a:r>
          </a:p>
          <a:p>
            <a:pPr marL="646510" lvl="3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Fourth level</a:t>
            </a:r>
          </a:p>
          <a:p>
            <a:pPr marL="815579" lvl="4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93088" y="542925"/>
            <a:ext cx="9107917" cy="6258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97690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650" baseline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4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1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7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7229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988" y="2735700"/>
            <a:ext cx="3550568" cy="355056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122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8614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2708920"/>
            <a:ext cx="3384376" cy="3384376"/>
          </a:xfrm>
          <a:prstGeom prst="rect">
            <a:avLst/>
          </a:prstGeom>
        </p:spPr>
      </p:pic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469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45" y="2348881"/>
            <a:ext cx="3389363" cy="3707962"/>
          </a:xfrm>
          <a:prstGeom prst="rect">
            <a:avLst/>
          </a:prstGeom>
        </p:spPr>
      </p:pic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817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04" y="2724288"/>
            <a:ext cx="3384376" cy="3384376"/>
          </a:xfrm>
          <a:prstGeom prst="rect">
            <a:avLst/>
          </a:prstGeom>
        </p:spPr>
      </p:pic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495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84" y="2692484"/>
            <a:ext cx="3456384" cy="3456384"/>
          </a:xfrm>
          <a:prstGeom prst="rect">
            <a:avLst/>
          </a:prstGeom>
        </p:spPr>
      </p:pic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632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601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764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195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436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9091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30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2092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416731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pos="9656" userDrawn="1">
          <p15:clr>
            <a:srgbClr val="FBAE40"/>
          </p15:clr>
        </p15:guide>
        <p15:guide id="8" pos="4939" userDrawn="1">
          <p15:clr>
            <a:srgbClr val="FBAE40"/>
          </p15:clr>
        </p15:guide>
        <p15:guide id="9" pos="5301" userDrawn="1">
          <p15:clr>
            <a:srgbClr val="FBAE40"/>
          </p15:clr>
        </p15:guide>
        <p15:guide id="10" orient="horz" pos="3793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95325" y="1196976"/>
            <a:ext cx="10802937" cy="4684713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778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26" y="1557339"/>
            <a:ext cx="5184775" cy="4103686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311901" y="1557339"/>
            <a:ext cx="5186361" cy="4103686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6021388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25727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39" userDrawn="1">
          <p15:clr>
            <a:srgbClr val="FBAE40"/>
          </p15:clr>
        </p15:guide>
        <p15:guide id="2" pos="5301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27" y="1557066"/>
            <a:ext cx="3312000" cy="4103959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8184675" y="1557065"/>
            <a:ext cx="3312000" cy="4103960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440000" y="1557065"/>
            <a:ext cx="3312000" cy="4103960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95324" y="6021388"/>
            <a:ext cx="9361117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50038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367" userDrawn="1">
          <p15:clr>
            <a:srgbClr val="FBAE40"/>
          </p15:clr>
        </p15:guide>
        <p15:guide id="2" pos="3729" userDrawn="1">
          <p15:clr>
            <a:srgbClr val="FBAE40"/>
          </p15:clr>
        </p15:guide>
        <p15:guide id="3" pos="6511" userDrawn="1">
          <p15:clr>
            <a:srgbClr val="FBAE40"/>
          </p15:clr>
        </p15:guide>
        <p15:guide id="4" pos="6873" userDrawn="1">
          <p15:clr>
            <a:srgbClr val="FBAE40"/>
          </p15:clr>
        </p15:guide>
        <p15:guide id="5" orient="horz" pos="3793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4" y="6021388"/>
            <a:ext cx="9361117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4005150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4939" userDrawn="1">
          <p15:clr>
            <a:srgbClr val="FBAE40"/>
          </p15:clr>
        </p15:guide>
        <p15:guide id="3" pos="5301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361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39" userDrawn="1">
          <p15:clr>
            <a:srgbClr val="FBAE40"/>
          </p15:clr>
        </p15:guide>
        <p15:guide id="2" pos="5301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1"/>
          <p:cNvSpPr>
            <a:spLocks/>
          </p:cNvSpPr>
          <p:nvPr userDrawn="1"/>
        </p:nvSpPr>
        <p:spPr bwMode="auto">
          <a:xfrm>
            <a:off x="3172247" y="476672"/>
            <a:ext cx="5040000" cy="5040000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685783">
              <a:defRPr/>
            </a:pPr>
            <a:endParaRPr lang="en-US" sz="1200" noProof="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7" name="Oval 28"/>
          <p:cNvSpPr>
            <a:spLocks/>
          </p:cNvSpPr>
          <p:nvPr userDrawn="1"/>
        </p:nvSpPr>
        <p:spPr bwMode="auto">
          <a:xfrm>
            <a:off x="698916" y="3034775"/>
            <a:ext cx="2732789" cy="2732789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685783">
              <a:defRPr/>
            </a:pPr>
            <a:endParaRPr lang="en-US" sz="1200" noProof="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8917" y="3318943"/>
            <a:ext cx="2732788" cy="2448620"/>
          </a:xfrm>
        </p:spPr>
        <p:txBody>
          <a:bodyPr lIns="0" rIns="0" anchor="t">
            <a:noAutofit/>
          </a:bodyPr>
          <a:lstStyle>
            <a:lvl1pPr marL="0" indent="0" algn="ctr">
              <a:buNone/>
              <a:defRPr sz="10500" spc="-15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00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719736" y="1479606"/>
            <a:ext cx="3960440" cy="3024336"/>
          </a:xfrm>
        </p:spPr>
        <p:txBody>
          <a:bodyPr anchor="ctr"/>
          <a:lstStyle>
            <a:lvl1pPr>
              <a:lnSpc>
                <a:spcPct val="100000"/>
              </a:lnSpc>
              <a:defRPr sz="255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chapter title</a:t>
            </a:r>
            <a:endParaRPr lang="en-US" noProof="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3" name="Group 27"/>
          <p:cNvGrpSpPr>
            <a:grpSpLocks/>
          </p:cNvGrpSpPr>
          <p:nvPr userDrawn="1"/>
        </p:nvGrpSpPr>
        <p:grpSpPr bwMode="auto">
          <a:xfrm>
            <a:off x="10922001" y="6022084"/>
            <a:ext cx="576263" cy="563563"/>
            <a:chOff x="4908550" y="1790700"/>
            <a:chExt cx="3343275" cy="3276600"/>
          </a:xfrm>
        </p:grpSpPr>
        <p:sp>
          <p:nvSpPr>
            <p:cNvPr id="14" name="Freeform 5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0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050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685783">
              <a:defRPr/>
            </a:pPr>
            <a:endParaRPr lang="en-US" sz="1200" noProof="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565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Oval 11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401631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Oval 10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4194941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918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Oval 10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1441352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Oval 10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227721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Oval 10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49042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1" y="259208"/>
            <a:ext cx="3611116" cy="5823421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27"/>
          <p:cNvGrpSpPr>
            <a:grpSpLocks/>
          </p:cNvGrpSpPr>
          <p:nvPr userDrawn="1"/>
        </p:nvGrpSpPr>
        <p:grpSpPr bwMode="auto">
          <a:xfrm>
            <a:off x="10922001" y="6022084"/>
            <a:ext cx="576263" cy="563563"/>
            <a:chOff x="4908550" y="1790700"/>
            <a:chExt cx="3343275" cy="3276600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32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151" y="503121"/>
            <a:ext cx="10704900" cy="8380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151" y="1591906"/>
            <a:ext cx="10704900" cy="41789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F2492-BB92-48BD-9F45-803D6031AA13}" type="datetime1">
              <a:rPr lang="en-US" smtClean="0">
                <a:solidFill>
                  <a:srgbClr val="999999"/>
                </a:solidFill>
              </a:rPr>
              <a:pPr>
                <a:defRPr/>
              </a:pPr>
              <a:t>3/11/2021</a:t>
            </a:fld>
            <a:endParaRPr lang="en-US">
              <a:solidFill>
                <a:srgbClr val="9999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Class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(</a:t>
            </a:r>
            <a:fld id="{C907284A-B98E-4CEA-80AC-9875ED1BEA51}" type="slidenum">
              <a:rPr lang="en-US">
                <a:solidFill>
                  <a:srgbClr val="999999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999999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808284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2445626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5040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5676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4256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4939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035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9433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32363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36604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5412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4715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8222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62082560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2683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8514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5146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328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0595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27638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936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6084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46691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0433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08372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50868679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04616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670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theme" Target="../theme/theme14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31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slideLayout" Target="../slideLayouts/slideLayout17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slideLayout" Target="../slideLayouts/slideLayout203.x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slideLayout" Target="../slideLayouts/slideLayout218.xml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2" Type="http://schemas.openxmlformats.org/officeDocument/2006/relationships/slideLayout" Target="../slideLayouts/slideLayout20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5" Type="http://schemas.openxmlformats.org/officeDocument/2006/relationships/theme" Target="../theme/theme18.xml"/><Relationship Id="rId10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.xml"/><Relationship Id="rId13" Type="http://schemas.openxmlformats.org/officeDocument/2006/relationships/slideLayout" Target="../slideLayouts/slideLayout23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1.xml"/><Relationship Id="rId17" Type="http://schemas.openxmlformats.org/officeDocument/2006/relationships/theme" Target="../theme/theme19.xml"/><Relationship Id="rId2" Type="http://schemas.openxmlformats.org/officeDocument/2006/relationships/slideLayout" Target="../slideLayouts/slideLayout221.xml"/><Relationship Id="rId16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24.xml"/><Relationship Id="rId15" Type="http://schemas.openxmlformats.org/officeDocument/2006/relationships/slideLayout" Target="../slideLayouts/slideLayout234.xml"/><Relationship Id="rId10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slideLayout" Target="../slideLayouts/slideLayout23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42.xml"/><Relationship Id="rId12" Type="http://schemas.openxmlformats.org/officeDocument/2006/relationships/slideLayout" Target="../slideLayouts/slideLayout247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37.xml"/><Relationship Id="rId16" Type="http://schemas.openxmlformats.org/officeDocument/2006/relationships/theme" Target="../theme/theme20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5" Type="http://schemas.openxmlformats.org/officeDocument/2006/relationships/slideLayout" Target="../slideLayouts/slideLayout250.xml"/><Relationship Id="rId10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49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3.xml"/><Relationship Id="rId2" Type="http://schemas.openxmlformats.org/officeDocument/2006/relationships/slideLayout" Target="../slideLayouts/slideLayout252.xml"/><Relationship Id="rId1" Type="http://schemas.openxmlformats.org/officeDocument/2006/relationships/slideLayout" Target="../slideLayouts/slideLayout251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54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8.xml"/><Relationship Id="rId7" Type="http://schemas.openxmlformats.org/officeDocument/2006/relationships/theme" Target="../theme/theme22.xml"/><Relationship Id="rId2" Type="http://schemas.openxmlformats.org/officeDocument/2006/relationships/slideLayout" Target="../slideLayouts/slideLayout257.xml"/><Relationship Id="rId1" Type="http://schemas.openxmlformats.org/officeDocument/2006/relationships/slideLayout" Target="../slideLayouts/slideLayout256.xml"/><Relationship Id="rId6" Type="http://schemas.openxmlformats.org/officeDocument/2006/relationships/slideLayout" Target="../slideLayouts/slideLayout261.xml"/><Relationship Id="rId5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5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.xml"/><Relationship Id="rId13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64.xml"/><Relationship Id="rId7" Type="http://schemas.openxmlformats.org/officeDocument/2006/relationships/slideLayout" Target="../slideLayouts/slideLayout268.xml"/><Relationship Id="rId12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63.xml"/><Relationship Id="rId1" Type="http://schemas.openxmlformats.org/officeDocument/2006/relationships/slideLayout" Target="../slideLayouts/slideLayout262.xml"/><Relationship Id="rId6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272.xml"/><Relationship Id="rId5" Type="http://schemas.openxmlformats.org/officeDocument/2006/relationships/slideLayout" Target="../slideLayouts/slideLayout26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71.xml"/><Relationship Id="rId4" Type="http://schemas.openxmlformats.org/officeDocument/2006/relationships/slideLayout" Target="../slideLayouts/slideLayout265.xml"/><Relationship Id="rId9" Type="http://schemas.openxmlformats.org/officeDocument/2006/relationships/slideLayout" Target="../slideLayouts/slideLayout270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7.xml"/><Relationship Id="rId18" Type="http://schemas.openxmlformats.org/officeDocument/2006/relationships/slideLayout" Target="../slideLayouts/slideLayout292.xml"/><Relationship Id="rId26" Type="http://schemas.openxmlformats.org/officeDocument/2006/relationships/slideLayout" Target="../slideLayouts/slideLayout300.xml"/><Relationship Id="rId3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95.xml"/><Relationship Id="rId34" Type="http://schemas.openxmlformats.org/officeDocument/2006/relationships/theme" Target="../theme/theme24.xml"/><Relationship Id="rId7" Type="http://schemas.openxmlformats.org/officeDocument/2006/relationships/slideLayout" Target="../slideLayouts/slideLayout281.xml"/><Relationship Id="rId12" Type="http://schemas.openxmlformats.org/officeDocument/2006/relationships/slideLayout" Target="../slideLayouts/slideLayout286.xml"/><Relationship Id="rId17" Type="http://schemas.openxmlformats.org/officeDocument/2006/relationships/slideLayout" Target="../slideLayouts/slideLayout291.xml"/><Relationship Id="rId25" Type="http://schemas.openxmlformats.org/officeDocument/2006/relationships/slideLayout" Target="../slideLayouts/slideLayout299.xml"/><Relationship Id="rId33" Type="http://schemas.openxmlformats.org/officeDocument/2006/relationships/slideLayout" Target="../slideLayouts/slideLayout307.xml"/><Relationship Id="rId2" Type="http://schemas.openxmlformats.org/officeDocument/2006/relationships/slideLayout" Target="../slideLayouts/slideLayout276.xml"/><Relationship Id="rId16" Type="http://schemas.openxmlformats.org/officeDocument/2006/relationships/slideLayout" Target="../slideLayouts/slideLayout290.xml"/><Relationship Id="rId20" Type="http://schemas.openxmlformats.org/officeDocument/2006/relationships/slideLayout" Target="../slideLayouts/slideLayout294.xml"/><Relationship Id="rId29" Type="http://schemas.openxmlformats.org/officeDocument/2006/relationships/slideLayout" Target="../slideLayouts/slideLayout303.xml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11" Type="http://schemas.openxmlformats.org/officeDocument/2006/relationships/slideLayout" Target="../slideLayouts/slideLayout285.xml"/><Relationship Id="rId24" Type="http://schemas.openxmlformats.org/officeDocument/2006/relationships/slideLayout" Target="../slideLayouts/slideLayout298.xml"/><Relationship Id="rId32" Type="http://schemas.openxmlformats.org/officeDocument/2006/relationships/slideLayout" Target="../slideLayouts/slideLayout306.xml"/><Relationship Id="rId5" Type="http://schemas.openxmlformats.org/officeDocument/2006/relationships/slideLayout" Target="../slideLayouts/slideLayout279.xml"/><Relationship Id="rId15" Type="http://schemas.openxmlformats.org/officeDocument/2006/relationships/slideLayout" Target="../slideLayouts/slideLayout289.xml"/><Relationship Id="rId23" Type="http://schemas.openxmlformats.org/officeDocument/2006/relationships/slideLayout" Target="../slideLayouts/slideLayout297.xml"/><Relationship Id="rId28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84.xml"/><Relationship Id="rId19" Type="http://schemas.openxmlformats.org/officeDocument/2006/relationships/slideLayout" Target="../slideLayouts/slideLayout293.xml"/><Relationship Id="rId31" Type="http://schemas.openxmlformats.org/officeDocument/2006/relationships/slideLayout" Target="../slideLayouts/slideLayout305.xml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4" Type="http://schemas.openxmlformats.org/officeDocument/2006/relationships/slideLayout" Target="../slideLayouts/slideLayout288.xml"/><Relationship Id="rId22" Type="http://schemas.openxmlformats.org/officeDocument/2006/relationships/slideLayout" Target="../slideLayouts/slideLayout296.xml"/><Relationship Id="rId27" Type="http://schemas.openxmlformats.org/officeDocument/2006/relationships/slideLayout" Target="../slideLayouts/slideLayout301.xml"/><Relationship Id="rId30" Type="http://schemas.openxmlformats.org/officeDocument/2006/relationships/slideLayout" Target="../slideLayouts/slideLayout304.xml"/><Relationship Id="rId8" Type="http://schemas.openxmlformats.org/officeDocument/2006/relationships/slideLayout" Target="../slideLayouts/slideLayout282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0.xml"/><Relationship Id="rId7" Type="http://schemas.openxmlformats.org/officeDocument/2006/relationships/slideLayout" Target="../slideLayouts/slideLayout314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309.xml"/><Relationship Id="rId1" Type="http://schemas.openxmlformats.org/officeDocument/2006/relationships/slideLayout" Target="../slideLayouts/slideLayout308.xml"/><Relationship Id="rId6" Type="http://schemas.openxmlformats.org/officeDocument/2006/relationships/slideLayout" Target="../slideLayouts/slideLayout313.xml"/><Relationship Id="rId11" Type="http://schemas.openxmlformats.org/officeDocument/2006/relationships/slideLayout" Target="../slideLayouts/slideLayout318.xml"/><Relationship Id="rId5" Type="http://schemas.openxmlformats.org/officeDocument/2006/relationships/slideLayout" Target="../slideLayouts/slideLayout312.xml"/><Relationship Id="rId10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311.xml"/><Relationship Id="rId9" Type="http://schemas.openxmlformats.org/officeDocument/2006/relationships/slideLayout" Target="../slideLayouts/slideLayout316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6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325.xml"/><Relationship Id="rId12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320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1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323.xml"/><Relationship Id="rId10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Relationship Id="rId1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4.xml"/><Relationship Id="rId2" Type="http://schemas.openxmlformats.org/officeDocument/2006/relationships/slideLayout" Target="../slideLayouts/slideLayout343.xml"/><Relationship Id="rId1" Type="http://schemas.openxmlformats.org/officeDocument/2006/relationships/slideLayout" Target="../slideLayouts/slideLayout342.xml"/><Relationship Id="rId4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29.xml"/><Relationship Id="rId21" Type="http://schemas.openxmlformats.org/officeDocument/2006/relationships/oleObject" Target="../embeddings/oleObject1.bin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346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345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26.png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2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theme" Target="../theme/theme30.xml"/><Relationship Id="rId1" Type="http://schemas.openxmlformats.org/officeDocument/2006/relationships/slideLayout" Target="../slideLayouts/slideLayout34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3" r:id="rId2"/>
    <p:sldLayoutId id="2147483688" r:id="rId3"/>
    <p:sldLayoutId id="2147483667" r:id="rId4"/>
    <p:sldLayoutId id="2147483685" r:id="rId5"/>
    <p:sldLayoutId id="2147483686" r:id="rId6"/>
    <p:sldLayoutId id="2147483687" r:id="rId7"/>
    <p:sldLayoutId id="2147483689" r:id="rId8"/>
    <p:sldLayoutId id="2147483669" r:id="rId9"/>
    <p:sldLayoutId id="2147483670" r:id="rId10"/>
    <p:sldLayoutId id="2147483681" r:id="rId11"/>
    <p:sldLayoutId id="2147483693" r:id="rId12"/>
    <p:sldLayoutId id="214748388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705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8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4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291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0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2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8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203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2" r:id="rId12"/>
    <p:sldLayoutId id="2147483863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104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3C3C0D-ABB1-4EA3-B42A-2C27A9E5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7"/>
            <a:ext cx="9200035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DAFE4-7822-4E3C-9E22-4E22A9545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6" y="1989138"/>
            <a:ext cx="11233151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9E874E-25E5-43C0-934F-A1AFB4D03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416675"/>
            <a:ext cx="9116215" cy="215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5D8307-B9EB-4D44-8A70-B74B26536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3278" y="6416675"/>
            <a:ext cx="742991" cy="2159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FDD8496-36A7-44F3-8E4F-22AAE25EE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9461" y="6416675"/>
            <a:ext cx="1209995" cy="21590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E88AFA65-60B2-47A7-828C-526A83AF20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10695" y="441325"/>
            <a:ext cx="501880" cy="501458"/>
            <a:chOff x="569" y="259"/>
            <a:chExt cx="1190" cy="1189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F43FCB28-65AE-4089-98CA-D885C36C1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309F9C1-9A58-45D8-B40E-DED85E7ED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A84EBC-2001-40EC-A5E3-D11DEE20CA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DB79744-BCDE-4081-899C-CB162316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BE31F44-5918-4F82-AFFA-9DF2912A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E8B76B2-DA99-453A-BF81-3D3B3D8CDE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349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  <p:sldLayoutId id="2147483921" r:id="rId21"/>
    <p:sldLayoutId id="2147483922" r:id="rId22"/>
    <p:sldLayoutId id="2147483923" r:id="rId23"/>
    <p:sldLayoutId id="2147483924" r:id="rId24"/>
    <p:sldLayoutId id="2147483925" r:id="rId25"/>
    <p:sldLayoutId id="2147483926" r:id="rId26"/>
    <p:sldLayoutId id="2147483927" r:id="rId27"/>
    <p:sldLayoutId id="2147483928" r:id="rId28"/>
    <p:sldLayoutId id="2147483929" r:id="rId29"/>
    <p:sldLayoutId id="2147483930" r:id="rId30"/>
    <p:sldLayoutId id="2147483931" r:id="rId3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36922" indent="-136922" algn="l" defTabSz="685800" rtl="0" eaLnBrk="1" latinLnBrk="0" hangingPunct="1">
        <a:lnSpc>
          <a:spcPct val="90000"/>
        </a:lnSpc>
        <a:spcBef>
          <a:spcPts val="75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1pPr>
      <a:lvl2pPr marL="269081" indent="-133350" algn="l" defTabSz="685800" rtl="0" eaLnBrk="1" latinLnBrk="0" hangingPunct="1">
        <a:lnSpc>
          <a:spcPct val="90000"/>
        </a:lnSpc>
        <a:spcBef>
          <a:spcPts val="375"/>
        </a:spcBef>
        <a:buClrTx/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2pPr>
      <a:lvl3pPr marL="406004" indent="-136922" algn="l" defTabSz="685800" rtl="0" eaLnBrk="1" latinLnBrk="0" hangingPunct="1">
        <a:lnSpc>
          <a:spcPct val="90000"/>
        </a:lnSpc>
        <a:spcBef>
          <a:spcPts val="375"/>
        </a:spcBef>
        <a:buClrTx/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538163" indent="-132160" algn="l" defTabSz="685800" rtl="0" eaLnBrk="1" latinLnBrk="0" hangingPunct="1">
        <a:lnSpc>
          <a:spcPct val="90000"/>
        </a:lnSpc>
        <a:spcBef>
          <a:spcPts val="375"/>
        </a:spcBef>
        <a:buClrTx/>
        <a:buFont typeface="Arial" panose="020B0604020202020204" pitchFamily="34" charset="0"/>
        <a:buChar char="•"/>
        <a:defRPr sz="75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 userDrawn="1">
          <p15:clr>
            <a:srgbClr val="F26B43"/>
          </p15:clr>
        </p15:guide>
        <p15:guide id="2" orient="horz" pos="278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pos="403" userDrawn="1">
          <p15:clr>
            <a:srgbClr val="F26B43"/>
          </p15:clr>
        </p15:guide>
        <p15:guide id="6" pos="9837" userDrawn="1">
          <p15:clr>
            <a:srgbClr val="F26B43"/>
          </p15:clr>
        </p15:guide>
        <p15:guide id="7" orient="horz" pos="4178" userDrawn="1">
          <p15:clr>
            <a:srgbClr val="F26B43"/>
          </p15:clr>
        </p15:guide>
        <p15:guide id="8" orient="horz" pos="4042" userDrawn="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589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1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9918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297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  <p:sldLayoutId id="214748399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854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3249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3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08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184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953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868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  <p:sldLayoutId id="2147484093" r:id="rId5"/>
    <p:sldLayoutId id="2147484094" r:id="rId6"/>
    <p:sldLayoutId id="2147484095" r:id="rId7"/>
    <p:sldLayoutId id="2147484096" r:id="rId8"/>
    <p:sldLayoutId id="2147484097" r:id="rId9"/>
    <p:sldLayoutId id="2147484098" r:id="rId10"/>
    <p:sldLayoutId id="2147484099" r:id="rId11"/>
    <p:sldLayoutId id="2147484100" r:id="rId12"/>
    <p:sldLayoutId id="214748410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3C3C0D-ABB1-4EA3-B42A-2C27A9E5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9200035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DAFE4-7822-4E3C-9E22-4E22A9545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989138"/>
            <a:ext cx="11233150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9E874E-25E5-43C0-934F-A1AFB4D03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4" y="6416675"/>
            <a:ext cx="9116215" cy="215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5D8307-B9EB-4D44-8A70-B74B26536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3276" y="6416675"/>
            <a:ext cx="742991" cy="2159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FDD8496-36A7-44F3-8E4F-22AAE25EE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9460" y="6416675"/>
            <a:ext cx="1209995" cy="21590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E88AFA65-60B2-47A7-828C-526A83AF20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10695" y="441325"/>
            <a:ext cx="501880" cy="501458"/>
            <a:chOff x="569" y="259"/>
            <a:chExt cx="1190" cy="1189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F43FCB28-65AE-4089-98CA-D885C36C1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309F9C1-9A58-45D8-B40E-DED85E7ED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A84EBC-2001-40EC-A5E3-D11DEE20CA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DB79744-BCDE-4081-899C-CB162316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BE31F44-5918-4F82-AFFA-9DF2912A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E8B76B2-DA99-453A-BF81-3D3B3D8CDE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518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8" r:id="rId1"/>
    <p:sldLayoutId id="2147484159" r:id="rId2"/>
    <p:sldLayoutId id="2147484160" r:id="rId3"/>
    <p:sldLayoutId id="2147484161" r:id="rId4"/>
    <p:sldLayoutId id="2147484162" r:id="rId5"/>
    <p:sldLayoutId id="2147484163" r:id="rId6"/>
    <p:sldLayoutId id="2147484164" r:id="rId7"/>
    <p:sldLayoutId id="2147484165" r:id="rId8"/>
    <p:sldLayoutId id="2147484166" r:id="rId9"/>
    <p:sldLayoutId id="2147484167" r:id="rId10"/>
    <p:sldLayoutId id="2147484168" r:id="rId11"/>
    <p:sldLayoutId id="2147484169" r:id="rId12"/>
    <p:sldLayoutId id="2147484170" r:id="rId13"/>
    <p:sldLayoutId id="2147484171" r:id="rId14"/>
    <p:sldLayoutId id="2147484172" r:id="rId15"/>
    <p:sldLayoutId id="2147484173" r:id="rId16"/>
    <p:sldLayoutId id="2147484174" r:id="rId17"/>
    <p:sldLayoutId id="2147484175" r:id="rId18"/>
    <p:sldLayoutId id="2147484176" r:id="rId19"/>
    <p:sldLayoutId id="2147484177" r:id="rId20"/>
    <p:sldLayoutId id="2147484178" r:id="rId21"/>
    <p:sldLayoutId id="2147484179" r:id="rId22"/>
    <p:sldLayoutId id="2147484180" r:id="rId23"/>
    <p:sldLayoutId id="2147484181" r:id="rId24"/>
    <p:sldLayoutId id="2147484182" r:id="rId25"/>
    <p:sldLayoutId id="2147484183" r:id="rId26"/>
    <p:sldLayoutId id="2147484184" r:id="rId27"/>
    <p:sldLayoutId id="2147484185" r:id="rId28"/>
    <p:sldLayoutId id="2147484186" r:id="rId29"/>
    <p:sldLayoutId id="2147484187" r:id="rId30"/>
    <p:sldLayoutId id="2147484188" r:id="rId31"/>
    <p:sldLayoutId id="2147484189" r:id="rId32"/>
    <p:sldLayoutId id="2147484190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78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pos="302">
          <p15:clr>
            <a:srgbClr val="F26B43"/>
          </p15:clr>
        </p15:guide>
        <p15:guide id="6" pos="7378">
          <p15:clr>
            <a:srgbClr val="F26B43"/>
          </p15:clr>
        </p15:guide>
        <p15:guide id="7" orient="horz" pos="4178">
          <p15:clr>
            <a:srgbClr val="F26B43"/>
          </p15:clr>
        </p15:guide>
        <p15:guide id="8" orient="horz" pos="4042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2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290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162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  <p:sldLayoutId id="2147484200" r:id="rId9"/>
    <p:sldLayoutId id="2147484201" r:id="rId10"/>
    <p:sldLayoutId id="214748420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2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290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200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  <p:sldLayoutId id="2147484228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2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290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071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0" r:id="rId1"/>
    <p:sldLayoutId id="2147484231" r:id="rId2"/>
    <p:sldLayoutId id="2147484232" r:id="rId3"/>
    <p:sldLayoutId id="2147484233" r:id="rId4"/>
    <p:sldLayoutId id="2147484234" r:id="rId5"/>
    <p:sldLayoutId id="2147484235" r:id="rId6"/>
    <p:sldLayoutId id="2147484236" r:id="rId7"/>
    <p:sldLayoutId id="2147484237" r:id="rId8"/>
    <p:sldLayoutId id="2147484238" r:id="rId9"/>
    <p:sldLayoutId id="2147484239" r:id="rId10"/>
    <p:sldLayoutId id="214748424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0852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2" r:id="rId1"/>
    <p:sldLayoutId id="2147484243" r:id="rId2"/>
    <p:sldLayoutId id="214748424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4056788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837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74444" y="1980017"/>
            <a:ext cx="184505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>
                <a:solidFill>
                  <a:srgbClr val="808080"/>
                </a:solidFill>
                <a:latin typeface="Arial"/>
              </a:rPr>
              <a:t>Last Modified 23/6/2017 5:58 μμ GTB Standard Time</a:t>
            </a:r>
            <a:endParaRPr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3445" y="4197997"/>
            <a:ext cx="162704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>
                <a:solidFill>
                  <a:srgbClr val="808080"/>
                </a:solidFill>
                <a:latin typeface="Arial"/>
              </a:rPr>
              <a:t>Printed 22/6/2017 4:26 μμ GTB Standard Time</a:t>
            </a:r>
            <a:endParaRPr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38799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6" y="94115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7" y="566136"/>
            <a:ext cx="1038799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161984" y="6415463"/>
            <a:ext cx="11725485" cy="308589"/>
            <a:chOff x="119062" y="6328937"/>
            <a:chExt cx="8618538" cy="30244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28937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0986" indent="-80986">
                <a:defRPr lang="x-none"/>
              </a:pPr>
              <a:r>
                <a:rPr sz="816" dirty="0">
                  <a:solidFill>
                    <a:srgbClr val="808080"/>
                  </a:solidFill>
                  <a:latin typeface="Arial"/>
                </a:rPr>
                <a:t>1 Footnote</a:t>
              </a:r>
              <a:endParaRPr lang="en-US" sz="816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2" y="6505836"/>
              <a:ext cx="8234105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34510" indent="-534510" defTabSz="913526"/>
              <a:r>
                <a:rPr lang="x-none" sz="816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816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837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1837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auto">
          <a:xfrm>
            <a:off x="11404512" y="771000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x-none" sz="816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9655831" y="93860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auto">
          <a:xfrm>
            <a:off x="10848390" y="764521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auto">
          <a:xfrm>
            <a:off x="10429616" y="764521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auto">
          <a:xfrm>
            <a:off x="10757677" y="735365"/>
            <a:ext cx="955650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759229" y="6598474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16" smtClean="0">
                <a:solidFill>
                  <a:srgbClr val="808080"/>
                </a:solidFill>
              </a:rPr>
              <a:pPr algn="r"/>
              <a:t>‹#›</a:t>
            </a:fld>
            <a:endParaRPr sz="816" dirty="0">
              <a:solidFill>
                <a:srgbClr val="808080"/>
              </a:solidFill>
            </a:endParaRPr>
          </a:p>
        </p:txBody>
      </p:sp>
      <p:sp>
        <p:nvSpPr>
          <p:cNvPr id="64" name="Rectangle 63"/>
          <p:cNvSpPr/>
          <p:nvPr userDrawn="1"/>
        </p:nvSpPr>
        <p:spPr bwMode="ltGray">
          <a:xfrm>
            <a:off x="0" y="38874"/>
            <a:ext cx="12192000" cy="46648"/>
          </a:xfrm>
          <a:prstGeom prst="rect">
            <a:avLst/>
          </a:prstGeom>
          <a:gradFill flip="none" rotWithShape="1">
            <a:gsLst>
              <a:gs pos="0">
                <a:srgbClr val="EBEDEF"/>
              </a:gs>
              <a:gs pos="100000">
                <a:srgbClr val="156297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/>
          <p:nvPr userDrawn="1"/>
        </p:nvSpPr>
        <p:spPr bwMode="ltGray">
          <a:xfrm flipH="1">
            <a:off x="0" y="6784956"/>
            <a:ext cx="12192000" cy="46648"/>
          </a:xfrm>
          <a:prstGeom prst="rect">
            <a:avLst/>
          </a:prstGeom>
          <a:gradFill flip="none" rotWithShape="1">
            <a:gsLst>
              <a:gs pos="0">
                <a:srgbClr val="EBEDEF"/>
              </a:gs>
              <a:gs pos="100000">
                <a:srgbClr val="156297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pic>
        <p:nvPicPr>
          <p:cNvPr id="66" name="Picture 65"/>
          <p:cNvPicPr>
            <a:picLocks noChangeAspect="1"/>
          </p:cNvPicPr>
          <p:nvPr userDrawn="1"/>
        </p:nvPicPr>
        <p:blipFill rotWithShape="1">
          <a:blip r:embed="rId23" cstate="print">
            <a:clrChange>
              <a:clrFrom>
                <a:srgbClr val="EEF3FA"/>
              </a:clrFrom>
              <a:clrTo>
                <a:srgbClr val="EEF3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05" t="30269" r="26331" b="13254"/>
          <a:stretch/>
        </p:blipFill>
        <p:spPr bwMode="ltGray">
          <a:xfrm>
            <a:off x="10860039" y="78954"/>
            <a:ext cx="1029591" cy="58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072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590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78" r:id="rId2"/>
    <p:sldLayoutId id="2147483691" r:id="rId3"/>
    <p:sldLayoutId id="2147483692" r:id="rId4"/>
    <p:sldLayoutId id="2147483864" r:id="rId5"/>
    <p:sldLayoutId id="2147483881" r:id="rId6"/>
    <p:sldLayoutId id="2147483946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B1108F-131A-4D34-9FA9-47ECF5EB72CE}"/>
              </a:ext>
            </a:extLst>
          </p:cNvPr>
          <p:cNvSpPr/>
          <p:nvPr userDrawn="1"/>
        </p:nvSpPr>
        <p:spPr>
          <a:xfrm>
            <a:off x="11599040" y="6441685"/>
            <a:ext cx="434464" cy="24713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CD9DD08-1CC6-4EF8-8DE6-94F2F332454F}"/>
              </a:ext>
            </a:extLst>
          </p:cNvPr>
          <p:cNvGrpSpPr/>
          <p:nvPr userDrawn="1"/>
        </p:nvGrpSpPr>
        <p:grpSpPr>
          <a:xfrm>
            <a:off x="158496" y="170193"/>
            <a:ext cx="11875008" cy="184622"/>
            <a:chOff x="158496" y="170193"/>
            <a:chExt cx="11875008" cy="184622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92E643-EF2C-41BC-BE67-D5624146ED9E}"/>
                </a:ext>
              </a:extLst>
            </p:cNvPr>
            <p:cNvSpPr/>
            <p:nvPr userDrawn="1"/>
          </p:nvSpPr>
          <p:spPr>
            <a:xfrm>
              <a:off x="158496" y="170193"/>
              <a:ext cx="2926080" cy="18462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0F9965-5C55-4DF7-9DE1-3FD295B37B65}"/>
                </a:ext>
              </a:extLst>
            </p:cNvPr>
            <p:cNvSpPr/>
            <p:nvPr userDrawn="1"/>
          </p:nvSpPr>
          <p:spPr>
            <a:xfrm>
              <a:off x="3084576" y="170193"/>
              <a:ext cx="8948928" cy="184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2B75591E-73FC-41D0-816B-6CFFE6B74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643" y="551720"/>
            <a:ext cx="10426921" cy="5799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ype Headline here</a:t>
            </a:r>
            <a:endParaRPr lang="en-AU" dirty="0"/>
          </a:p>
        </p:txBody>
      </p:sp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50138F1C-2965-4441-8731-17DD3B09E6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554" y="453551"/>
            <a:ext cx="969950" cy="423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030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B0F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250000"/>
        </a:lnSpc>
        <a:spcBef>
          <a:spcPts val="1000"/>
        </a:spcBef>
        <a:buClr>
          <a:srgbClr val="00B0F0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458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9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57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2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8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3/11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159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5" r:id="rId12"/>
    <p:sldLayoutId id="2147483746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476252"/>
            <a:ext cx="10802937" cy="7207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326" y="1557340"/>
            <a:ext cx="10801351" cy="410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Line 5"/>
          <p:cNvSpPr>
            <a:spLocks noChangeShapeType="1"/>
          </p:cNvSpPr>
          <p:nvPr userDrawn="1"/>
        </p:nvSpPr>
        <p:spPr bwMode="auto">
          <a:xfrm>
            <a:off x="696914" y="5878066"/>
            <a:ext cx="10801349" cy="0"/>
          </a:xfrm>
          <a:prstGeom prst="line">
            <a:avLst/>
          </a:prstGeom>
          <a:noFill/>
          <a:ln w="31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453" tIns="34226" rIns="68453" bIns="34226"/>
          <a:lstStyle/>
          <a:p>
            <a:endParaRPr lang="en-US" sz="1350" noProof="0" dirty="0">
              <a:solidFill>
                <a:prstClr val="black"/>
              </a:solidFill>
            </a:endParaRPr>
          </a:p>
        </p:txBody>
      </p:sp>
      <p:grpSp>
        <p:nvGrpSpPr>
          <p:cNvPr id="16" name="Group 27"/>
          <p:cNvGrpSpPr>
            <a:grpSpLocks/>
          </p:cNvGrpSpPr>
          <p:nvPr userDrawn="1"/>
        </p:nvGrpSpPr>
        <p:grpSpPr bwMode="auto">
          <a:xfrm>
            <a:off x="10922001" y="6022084"/>
            <a:ext cx="576263" cy="563563"/>
            <a:chOff x="4908550" y="1790700"/>
            <a:chExt cx="3343275" cy="3276600"/>
          </a:xfrm>
        </p:grpSpPr>
        <p:sp>
          <p:nvSpPr>
            <p:cNvPr id="18" name="Freeform 5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0818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  <p:sldLayoutId id="2147483774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783" rtl="0" eaLnBrk="1" latinLnBrk="0" hangingPunct="1">
        <a:lnSpc>
          <a:spcPts val="2325"/>
        </a:lnSpc>
        <a:spcBef>
          <a:spcPct val="0"/>
        </a:spcBef>
        <a:buNone/>
        <a:defRPr sz="21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4541" indent="-134541" algn="l" defTabSz="685783" rtl="0" eaLnBrk="1" latinLnBrk="0" hangingPunct="1">
        <a:spcBef>
          <a:spcPts val="525"/>
        </a:spcBef>
        <a:spcAft>
          <a:spcPts val="525"/>
        </a:spcAft>
        <a:buClr>
          <a:schemeClr val="tx2"/>
        </a:buClr>
        <a:buSzPct val="110000"/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3610" indent="-159544" algn="l" defTabSz="685783" rtl="0" eaLnBrk="1" latinLnBrk="0" hangingPunct="1">
        <a:spcBef>
          <a:spcPts val="0"/>
        </a:spcBef>
        <a:spcAft>
          <a:spcPts val="525"/>
        </a:spcAft>
        <a:buClr>
          <a:schemeClr val="tx2"/>
        </a:buClr>
        <a:buSzPct val="110000"/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04803" indent="-133347" algn="l" defTabSz="685783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10000"/>
        <a:buFont typeface="Arial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825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981" userDrawn="1">
          <p15:clr>
            <a:srgbClr val="F26B43"/>
          </p15:clr>
        </p15:guide>
        <p15:guide id="3" orient="horz" pos="754" userDrawn="1">
          <p15:clr>
            <a:srgbClr val="F26B43"/>
          </p15:clr>
        </p15:guide>
        <p15:guide id="4" orient="horz" pos="300" userDrawn="1">
          <p15:clr>
            <a:srgbClr val="F26B43"/>
          </p15:clr>
        </p15:guide>
        <p15:guide id="5" orient="horz" pos="3566" userDrawn="1">
          <p15:clr>
            <a:srgbClr val="F26B43"/>
          </p15:clr>
        </p15:guide>
        <p15:guide id="7" pos="9656" userDrawn="1">
          <p15:clr>
            <a:srgbClr val="F26B43"/>
          </p15:clr>
        </p15:guide>
        <p15:guide id="8" pos="584" userDrawn="1">
          <p15:clr>
            <a:srgbClr val="F26B43"/>
          </p15:clr>
        </p15:guide>
        <p15:guide id="9" orient="horz" pos="3705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4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291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027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11/2021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682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689" y="372400"/>
            <a:ext cx="7886700" cy="727245"/>
          </a:xfrm>
        </p:spPr>
        <p:txBody>
          <a:bodyPr/>
          <a:lstStyle/>
          <a:p>
            <a:r>
              <a:rPr lang="en-US" sz="3200" dirty="0"/>
              <a:t>ERCST Roundtable, 11</a:t>
            </a:r>
            <a:r>
              <a:rPr lang="en-US" sz="3200" baseline="30000" dirty="0"/>
              <a:t>th</a:t>
            </a:r>
            <a:r>
              <a:rPr lang="en-US" sz="3200" dirty="0"/>
              <a:t> March 2021</a:t>
            </a:r>
            <a:endParaRPr lang="en-GB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FFFFFF"/>
                </a:solidFill>
                <a:latin typeface="Arial" panose="020B0604020202020204"/>
              </a:rPr>
              <a:t>Pg.</a:t>
            </a:r>
            <a:fld id="{697EEA80-4864-8244-975C-B3367BB7ED10}" type="slidenum">
              <a:rPr lang="en-US">
                <a:solidFill>
                  <a:srgbClr val="FFFFFF"/>
                </a:solidFill>
                <a:latin typeface="Arial" panose="020B0604020202020204"/>
              </a:rPr>
              <a:pPr>
                <a:defRPr/>
              </a:pPr>
              <a:t>1</a:t>
            </a:fld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2DF44BA-FACA-42A0-8572-DF22AC058D71}"/>
              </a:ext>
            </a:extLst>
          </p:cNvPr>
          <p:cNvGrpSpPr/>
          <p:nvPr/>
        </p:nvGrpSpPr>
        <p:grpSpPr>
          <a:xfrm>
            <a:off x="362315" y="1380913"/>
            <a:ext cx="2763578" cy="3171274"/>
            <a:chOff x="575902" y="2161342"/>
            <a:chExt cx="2829733" cy="3171274"/>
          </a:xfrm>
        </p:grpSpPr>
        <p:grpSp>
          <p:nvGrpSpPr>
            <p:cNvPr id="27" name="Group 26"/>
            <p:cNvGrpSpPr/>
            <p:nvPr/>
          </p:nvGrpSpPr>
          <p:grpSpPr>
            <a:xfrm>
              <a:off x="759917" y="2161342"/>
              <a:ext cx="2578326" cy="1754541"/>
              <a:chOff x="170621" y="2469450"/>
              <a:chExt cx="1957491" cy="1313200"/>
            </a:xfrm>
          </p:grpSpPr>
          <p:grpSp>
            <p:nvGrpSpPr>
              <p:cNvPr id="18" name="Group 17"/>
              <p:cNvGrpSpPr/>
              <p:nvPr/>
            </p:nvGrpSpPr>
            <p:grpSpPr>
              <a:xfrm>
                <a:off x="170621" y="2469450"/>
                <a:ext cx="1957491" cy="1313200"/>
                <a:chOff x="160415" y="2296082"/>
                <a:chExt cx="2487037" cy="1313200"/>
              </a:xfrm>
            </p:grpSpPr>
            <p:sp>
              <p:nvSpPr>
                <p:cNvPr id="7" name="Rounded Rectangle 6"/>
                <p:cNvSpPr/>
                <p:nvPr/>
              </p:nvSpPr>
              <p:spPr>
                <a:xfrm>
                  <a:off x="160415" y="2296082"/>
                  <a:ext cx="2487037" cy="1313200"/>
                </a:xfrm>
                <a:prstGeom prst="roundRect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n-GB" b="1" dirty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8" name="TextBox 7"/>
                <p:cNvSpPr txBox="1"/>
                <p:nvPr/>
              </p:nvSpPr>
              <p:spPr>
                <a:xfrm>
                  <a:off x="311037" y="2860966"/>
                  <a:ext cx="2165857" cy="65651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defRPr/>
                  </a:pPr>
                  <a:r>
                    <a:rPr lang="fr-BE" sz="1700" b="1" dirty="0" err="1">
                      <a:solidFill>
                        <a:srgbClr val="FFFFFF"/>
                      </a:solidFill>
                      <a:latin typeface="Arial" panose="020B0604020202020204"/>
                    </a:rPr>
                    <a:t>Let’s</a:t>
                  </a:r>
                  <a:r>
                    <a:rPr lang="fr-BE" sz="1700" b="1" dirty="0">
                      <a:solidFill>
                        <a:srgbClr val="FFFFFF"/>
                      </a:solidFill>
                      <a:latin typeface="Arial" panose="020B0604020202020204"/>
                    </a:rPr>
                    <a:t> not </a:t>
                  </a:r>
                  <a:r>
                    <a:rPr lang="fr-BE" sz="1700" b="1" dirty="0" err="1">
                      <a:solidFill>
                        <a:srgbClr val="FFFFFF"/>
                      </a:solidFill>
                      <a:latin typeface="Arial" panose="020B0604020202020204"/>
                    </a:rPr>
                    <a:t>forget</a:t>
                  </a:r>
                  <a:r>
                    <a:rPr lang="fr-BE" sz="1700" b="1" dirty="0">
                      <a:solidFill>
                        <a:srgbClr val="FFFFFF"/>
                      </a:solidFill>
                      <a:latin typeface="Arial" panose="020B0604020202020204"/>
                    </a:rPr>
                    <a:t> the raison d’être of a CBAM</a:t>
                  </a:r>
                  <a:endParaRPr lang="en-GB" sz="1700" b="1" dirty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grpSp>
            <p:nvGrpSpPr>
              <p:cNvPr id="6" name="Group 5"/>
              <p:cNvGrpSpPr/>
              <p:nvPr/>
            </p:nvGrpSpPr>
            <p:grpSpPr>
              <a:xfrm>
                <a:off x="910988" y="2584214"/>
                <a:ext cx="439633" cy="395512"/>
                <a:chOff x="910988" y="2584214"/>
                <a:chExt cx="439633" cy="395512"/>
              </a:xfrm>
            </p:grpSpPr>
            <p:sp>
              <p:nvSpPr>
                <p:cNvPr id="57" name="Oval 56"/>
                <p:cNvSpPr/>
                <p:nvPr/>
              </p:nvSpPr>
              <p:spPr>
                <a:xfrm>
                  <a:off x="910988" y="2584214"/>
                  <a:ext cx="439633" cy="395512"/>
                </a:xfrm>
                <a:prstGeom prst="ellipse">
                  <a:avLst/>
                </a:prstGeom>
                <a:solidFill>
                  <a:srgbClr val="EDF1F4"/>
                </a:solidFill>
                <a:ln>
                  <a:noFill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n-GB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8" name="TextBox 57"/>
                <p:cNvSpPr txBox="1"/>
                <p:nvPr/>
              </p:nvSpPr>
              <p:spPr>
                <a:xfrm>
                  <a:off x="1004371" y="2612866"/>
                  <a:ext cx="268658" cy="2994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defRPr/>
                  </a:pPr>
                  <a:r>
                    <a:rPr lang="fr-BE" sz="2000" b="1" dirty="0">
                      <a:solidFill>
                        <a:srgbClr val="01B5B3"/>
                      </a:solidFill>
                      <a:latin typeface="Arial" panose="020B0604020202020204"/>
                    </a:rPr>
                    <a:t>1</a:t>
                  </a:r>
                  <a:endParaRPr lang="en-GB" sz="2000" b="1" dirty="0">
                    <a:solidFill>
                      <a:srgbClr val="01B5B3"/>
                    </a:solidFill>
                    <a:latin typeface="Arial" panose="020B0604020202020204"/>
                  </a:endParaRPr>
                </a:p>
              </p:txBody>
            </p:sp>
          </p:grpSp>
        </p:grpSp>
        <p:grpSp>
          <p:nvGrpSpPr>
            <p:cNvPr id="12" name="Group 11"/>
            <p:cNvGrpSpPr/>
            <p:nvPr/>
          </p:nvGrpSpPr>
          <p:grpSpPr>
            <a:xfrm>
              <a:off x="575902" y="4011212"/>
              <a:ext cx="2829733" cy="1321404"/>
              <a:chOff x="575902" y="4011212"/>
              <a:chExt cx="2829733" cy="1321404"/>
            </a:xfrm>
          </p:grpSpPr>
          <p:sp>
            <p:nvSpPr>
              <p:cNvPr id="2049" name="TextBox 2048"/>
              <p:cNvSpPr txBox="1"/>
              <p:nvPr/>
            </p:nvSpPr>
            <p:spPr>
              <a:xfrm>
                <a:off x="575902" y="4378509"/>
                <a:ext cx="2829733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GB" sz="1400" dirty="0">
                    <a:solidFill>
                      <a:srgbClr val="01B5B3"/>
                    </a:solidFill>
                    <a:latin typeface="Arial" panose="020B0604020202020204"/>
                  </a:rPr>
                  <a:t>A higher 55% 2030 target = increased ETS price &amp; less allowances. We need increased carbon leakage protection</a:t>
                </a:r>
              </a:p>
            </p:txBody>
          </p:sp>
          <p:sp>
            <p:nvSpPr>
              <p:cNvPr id="11" name="Right Arrow 10"/>
              <p:cNvSpPr/>
              <p:nvPr/>
            </p:nvSpPr>
            <p:spPr>
              <a:xfrm rot="5400000">
                <a:off x="1903941" y="3965369"/>
                <a:ext cx="326202" cy="417888"/>
              </a:xfrm>
              <a:prstGeom prst="rightArrow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CB2227D-A71B-4F8F-9860-8070CF739F0A}"/>
              </a:ext>
            </a:extLst>
          </p:cNvPr>
          <p:cNvGrpSpPr/>
          <p:nvPr/>
        </p:nvGrpSpPr>
        <p:grpSpPr>
          <a:xfrm>
            <a:off x="3294788" y="1370752"/>
            <a:ext cx="2801214" cy="3473823"/>
            <a:chOff x="3265663" y="2144125"/>
            <a:chExt cx="2333418" cy="3473823"/>
          </a:xfrm>
        </p:grpSpPr>
        <p:grpSp>
          <p:nvGrpSpPr>
            <p:cNvPr id="25" name="Group 24"/>
            <p:cNvGrpSpPr/>
            <p:nvPr/>
          </p:nvGrpSpPr>
          <p:grpSpPr>
            <a:xfrm>
              <a:off x="3295235" y="2144125"/>
              <a:ext cx="2097540" cy="1758236"/>
              <a:chOff x="3295235" y="2144125"/>
              <a:chExt cx="2097540" cy="1758236"/>
            </a:xfrm>
          </p:grpSpPr>
          <p:sp>
            <p:nvSpPr>
              <p:cNvPr id="46" name="Rounded Rectangle 45"/>
              <p:cNvSpPr/>
              <p:nvPr/>
            </p:nvSpPr>
            <p:spPr>
              <a:xfrm>
                <a:off x="3295235" y="2144125"/>
                <a:ext cx="2097540" cy="1758236"/>
              </a:xfrm>
              <a:prstGeom prst="round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GB" dirty="0">
                  <a:solidFill>
                    <a:srgbClr val="5C8193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16" name="Group 15"/>
              <p:cNvGrpSpPr/>
              <p:nvPr/>
            </p:nvGrpSpPr>
            <p:grpSpPr>
              <a:xfrm>
                <a:off x="3429628" y="2254487"/>
                <a:ext cx="1896085" cy="1541379"/>
                <a:chOff x="3429628" y="2254487"/>
                <a:chExt cx="1896085" cy="1541379"/>
              </a:xfrm>
            </p:grpSpPr>
            <p:sp>
              <p:nvSpPr>
                <p:cNvPr id="48" name="TextBox 47"/>
                <p:cNvSpPr txBox="1"/>
                <p:nvPr/>
              </p:nvSpPr>
              <p:spPr>
                <a:xfrm>
                  <a:off x="3429628" y="2918703"/>
                  <a:ext cx="1896085" cy="87716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>
                    <a:defRPr/>
                  </a:pPr>
                  <a:r>
                    <a:rPr lang="en-GB" altLang="en-US" sz="1700" b="1" dirty="0">
                      <a:solidFill>
                        <a:srgbClr val="FFFFFF"/>
                      </a:solidFill>
                      <a:latin typeface="Arial" panose="020B0604020202020204"/>
                    </a:rPr>
                    <a:t>Regulatory Stability has been undermined </a:t>
                  </a:r>
                  <a:endParaRPr lang="en-GB" sz="1700" b="1" dirty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grpSp>
              <p:nvGrpSpPr>
                <p:cNvPr id="9" name="Group 8"/>
                <p:cNvGrpSpPr/>
                <p:nvPr/>
              </p:nvGrpSpPr>
              <p:grpSpPr>
                <a:xfrm>
                  <a:off x="4128899" y="2254487"/>
                  <a:ext cx="479736" cy="557722"/>
                  <a:chOff x="10008795" y="5300337"/>
                  <a:chExt cx="479736" cy="557722"/>
                </a:xfrm>
              </p:grpSpPr>
              <p:sp>
                <p:nvSpPr>
                  <p:cNvPr id="34" name="Oval 33"/>
                  <p:cNvSpPr/>
                  <p:nvPr/>
                </p:nvSpPr>
                <p:spPr>
                  <a:xfrm>
                    <a:off x="10008795" y="5300337"/>
                    <a:ext cx="479736" cy="557722"/>
                  </a:xfrm>
                  <a:prstGeom prst="ellipse">
                    <a:avLst/>
                  </a:prstGeom>
                  <a:solidFill>
                    <a:srgbClr val="EDF1F4"/>
                  </a:solidFill>
                  <a:ln>
                    <a:noFill/>
                  </a:ln>
                </p:spPr>
                <p:style>
                  <a:lnRef idx="2">
                    <a:schemeClr val="accent6">
                      <a:shade val="50000"/>
                    </a:schemeClr>
                  </a:lnRef>
                  <a:fillRef idx="1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>
                      <a:defRPr/>
                    </a:pPr>
                    <a:endParaRPr lang="en-GB" dirty="0">
                      <a:solidFill>
                        <a:srgbClr val="FFFFFF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5" name="TextBox 4"/>
                  <p:cNvSpPr txBox="1"/>
                  <p:nvPr/>
                </p:nvSpPr>
                <p:spPr>
                  <a:xfrm>
                    <a:off x="10114802" y="5347117"/>
                    <a:ext cx="355833" cy="40011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defRPr/>
                    </a:pPr>
                    <a:r>
                      <a:rPr lang="en-US" sz="2000" b="1" dirty="0">
                        <a:solidFill>
                          <a:srgbClr val="5C8193"/>
                        </a:solidFill>
                        <a:latin typeface="Arial" panose="020B0604020202020204"/>
                      </a:rPr>
                      <a:t>2</a:t>
                    </a:r>
                  </a:p>
                </p:txBody>
              </p:sp>
            </p:grpSp>
          </p:grpSp>
        </p:grpSp>
        <p:grpSp>
          <p:nvGrpSpPr>
            <p:cNvPr id="13" name="Group 12"/>
            <p:cNvGrpSpPr/>
            <p:nvPr/>
          </p:nvGrpSpPr>
          <p:grpSpPr>
            <a:xfrm>
              <a:off x="3265663" y="3961424"/>
              <a:ext cx="2333418" cy="1656524"/>
              <a:chOff x="3265663" y="3961424"/>
              <a:chExt cx="2333418" cy="1656524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3265663" y="4371453"/>
                <a:ext cx="2333418" cy="12464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GB" altLang="en-US" sz="1500" dirty="0">
                    <a:solidFill>
                      <a:srgbClr val="5C8193"/>
                    </a:solidFill>
                    <a:latin typeface="Arial" panose="020B0604020202020204"/>
                  </a:rPr>
                  <a:t>Positive that, in the end, the EP favoured keeping existing carbon leakage provisions </a:t>
                </a:r>
                <a:r>
                  <a:rPr lang="en-GB" altLang="en-US" sz="1500" b="1" dirty="0">
                    <a:solidFill>
                      <a:schemeClr val="accent2"/>
                    </a:solidFill>
                    <a:latin typeface="Arial" panose="020B0604020202020204"/>
                  </a:rPr>
                  <a:t>but… </a:t>
                </a:r>
                <a:endParaRPr lang="en-GB" sz="1500" b="1" dirty="0">
                  <a:solidFill>
                    <a:schemeClr val="accent2"/>
                  </a:solidFill>
                  <a:latin typeface="Arial" panose="020B0604020202020204"/>
                </a:endParaRPr>
              </a:p>
              <a:p>
                <a:pPr algn="ctr">
                  <a:defRPr/>
                </a:pPr>
                <a:endParaRPr lang="en-US" sz="1500" dirty="0">
                  <a:solidFill>
                    <a:srgbClr val="5C8193"/>
                  </a:solidFill>
                  <a:latin typeface="Arial" panose="020B0604020202020204"/>
                </a:endParaRPr>
              </a:p>
            </p:txBody>
          </p:sp>
          <p:sp>
            <p:nvSpPr>
              <p:cNvPr id="39" name="Right Arrow 38"/>
              <p:cNvSpPr/>
              <p:nvPr/>
            </p:nvSpPr>
            <p:spPr>
              <a:xfrm rot="5400000">
                <a:off x="4210069" y="3950141"/>
                <a:ext cx="317397" cy="339963"/>
              </a:xfrm>
              <a:prstGeom prst="rightArrow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5A7927DE-31D0-4CDE-99B0-0C4484E95C47}"/>
              </a:ext>
            </a:extLst>
          </p:cNvPr>
          <p:cNvGrpSpPr/>
          <p:nvPr/>
        </p:nvGrpSpPr>
        <p:grpSpPr>
          <a:xfrm>
            <a:off x="6269706" y="1375968"/>
            <a:ext cx="2926129" cy="3204467"/>
            <a:chOff x="6249725" y="1078806"/>
            <a:chExt cx="3492582" cy="3204467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4ED5265-7481-4C68-9A67-407F694FEE9D}"/>
                </a:ext>
              </a:extLst>
            </p:cNvPr>
            <p:cNvGrpSpPr/>
            <p:nvPr/>
          </p:nvGrpSpPr>
          <p:grpSpPr>
            <a:xfrm>
              <a:off x="6249725" y="1078806"/>
              <a:ext cx="3492582" cy="3204467"/>
              <a:chOff x="5821576" y="2172388"/>
              <a:chExt cx="3492582" cy="3136101"/>
            </a:xfrm>
          </p:grpSpPr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73CE115C-69F8-49AB-9F06-A7EB8E8A5E92}"/>
                  </a:ext>
                </a:extLst>
              </p:cNvPr>
              <p:cNvGrpSpPr/>
              <p:nvPr/>
            </p:nvGrpSpPr>
            <p:grpSpPr>
              <a:xfrm>
                <a:off x="5868412" y="2172388"/>
                <a:ext cx="3028047" cy="1717109"/>
                <a:chOff x="2221511" y="2314313"/>
                <a:chExt cx="2685907" cy="1261509"/>
              </a:xfrm>
              <a:solidFill>
                <a:schemeClr val="accent3">
                  <a:lumMod val="75000"/>
                </a:schemeClr>
              </a:solidFill>
            </p:grpSpPr>
            <p:sp>
              <p:nvSpPr>
                <p:cNvPr id="45" name="Rounded Rectangle 44">
                  <a:extLst>
                    <a:ext uri="{FF2B5EF4-FFF2-40B4-BE49-F238E27FC236}">
                      <a16:creationId xmlns:a16="http://schemas.microsoft.com/office/drawing/2014/main" id="{F4F146A9-3000-4BE7-863B-DE8E065AA269}"/>
                    </a:ext>
                  </a:extLst>
                </p:cNvPr>
                <p:cNvSpPr/>
                <p:nvPr/>
              </p:nvSpPr>
              <p:spPr>
                <a:xfrm>
                  <a:off x="2221511" y="2314313"/>
                  <a:ext cx="2685907" cy="1261509"/>
                </a:xfrm>
                <a:prstGeom prst="round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n-GB" dirty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FD3128E0-AC5A-4E6F-A478-B992729AD545}"/>
                    </a:ext>
                  </a:extLst>
                </p:cNvPr>
                <p:cNvSpPr/>
                <p:nvPr/>
              </p:nvSpPr>
              <p:spPr>
                <a:xfrm>
                  <a:off x="3271928" y="2423889"/>
                  <a:ext cx="551031" cy="379860"/>
                </a:xfrm>
                <a:prstGeom prst="ellipse">
                  <a:avLst/>
                </a:prstGeom>
                <a:solidFill>
                  <a:srgbClr val="EDF1F4"/>
                </a:solidFill>
                <a:ln>
                  <a:noFill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n-GB" dirty="0">
                    <a:solidFill>
                      <a:srgbClr val="EDF1F4"/>
                    </a:solidFill>
                    <a:latin typeface="Arial" panose="020B0604020202020204"/>
                  </a:endParaRPr>
                </a:p>
              </p:txBody>
            </p:sp>
          </p:grp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252F4468-CAD9-4CAB-8998-60C4E032AFB0}"/>
                  </a:ext>
                </a:extLst>
              </p:cNvPr>
              <p:cNvSpPr txBox="1"/>
              <p:nvPr/>
            </p:nvSpPr>
            <p:spPr>
              <a:xfrm>
                <a:off x="7159902" y="2347257"/>
                <a:ext cx="342164" cy="3915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fr-BE" sz="2000" b="1" dirty="0">
                    <a:solidFill>
                      <a:srgbClr val="008CCD"/>
                    </a:solidFill>
                    <a:latin typeface="Arial" panose="020B0604020202020204"/>
                  </a:rPr>
                  <a:t>3</a:t>
                </a:r>
                <a:endParaRPr lang="en-GB" sz="2000" b="1" dirty="0">
                  <a:solidFill>
                    <a:srgbClr val="008CCD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01924B67-DD50-44D8-8946-6B6EFC8629AF}"/>
                  </a:ext>
                </a:extLst>
              </p:cNvPr>
              <p:cNvGrpSpPr/>
              <p:nvPr/>
            </p:nvGrpSpPr>
            <p:grpSpPr>
              <a:xfrm>
                <a:off x="5821576" y="3959694"/>
                <a:ext cx="3492582" cy="1348795"/>
                <a:chOff x="5821576" y="3959694"/>
                <a:chExt cx="3492582" cy="1348795"/>
              </a:xfrm>
            </p:grpSpPr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A7A6CD0E-1747-4C2D-9C2D-678879D72D31}"/>
                    </a:ext>
                  </a:extLst>
                </p:cNvPr>
                <p:cNvSpPr txBox="1"/>
                <p:nvPr/>
              </p:nvSpPr>
              <p:spPr>
                <a:xfrm>
                  <a:off x="5821576" y="4374737"/>
                  <a:ext cx="3492582" cy="93375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defRPr/>
                  </a:pPr>
                  <a:r>
                    <a:rPr lang="en-GB" sz="1400" b="1" dirty="0">
                      <a:solidFill>
                        <a:srgbClr val="008CCD"/>
                      </a:solidFill>
                      <a:latin typeface="Arial" panose="020B0604020202020204"/>
                    </a:rPr>
                    <a:t>Mistake that EP has said all ETS sectors should be included,  with aluminium in the             first pilot phase </a:t>
                  </a:r>
                </a:p>
              </p:txBody>
            </p:sp>
            <p:sp>
              <p:nvSpPr>
                <p:cNvPr id="44" name="Right Arrow 43">
                  <a:extLst>
                    <a:ext uri="{FF2B5EF4-FFF2-40B4-BE49-F238E27FC236}">
                      <a16:creationId xmlns:a16="http://schemas.microsoft.com/office/drawing/2014/main" id="{C2B9F09E-DFE3-4D78-A4BF-48F98AF952E4}"/>
                    </a:ext>
                  </a:extLst>
                </p:cNvPr>
                <p:cNvSpPr/>
                <p:nvPr/>
              </p:nvSpPr>
              <p:spPr>
                <a:xfrm rot="5400000">
                  <a:off x="7274983" y="3871446"/>
                  <a:ext cx="310625" cy="487122"/>
                </a:xfrm>
                <a:prstGeom prst="rightArrow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n-US" dirty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9D40A8E-3042-48BD-9F6C-7A27558E098A}"/>
                </a:ext>
              </a:extLst>
            </p:cNvPr>
            <p:cNvSpPr txBox="1"/>
            <p:nvPr/>
          </p:nvSpPr>
          <p:spPr>
            <a:xfrm>
              <a:off x="6444312" y="1875542"/>
              <a:ext cx="2732540" cy="8771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GB" sz="1700" b="1" dirty="0">
                  <a:solidFill>
                    <a:srgbClr val="FFFFFF"/>
                  </a:solidFill>
                  <a:latin typeface="Arial" panose="020B0604020202020204"/>
                </a:rPr>
                <a:t>CBAM will not be an effective measure for all sectors 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1561441-18EB-4587-A7DC-AE45B0569EA9}"/>
              </a:ext>
            </a:extLst>
          </p:cNvPr>
          <p:cNvSpPr/>
          <p:nvPr/>
        </p:nvSpPr>
        <p:spPr>
          <a:xfrm>
            <a:off x="6495275" y="4635579"/>
            <a:ext cx="2536935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en-GB" sz="1200" dirty="0">
                <a:solidFill>
                  <a:srgbClr val="008CCD"/>
                </a:solidFill>
                <a:latin typeface="Arial" panose="020B0604020202020204"/>
              </a:rPr>
              <a:t>Need a specific impact assessment showing if it can be effective for each sector 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GB" sz="1200" dirty="0">
                <a:solidFill>
                  <a:srgbClr val="008CCD"/>
                </a:solidFill>
                <a:latin typeface="Arial" panose="020B0604020202020204"/>
              </a:rPr>
              <a:t>As I will show, for non-ferrous metals we cannot see how a </a:t>
            </a:r>
            <a:r>
              <a:rPr lang="en-GB" sz="1200" b="1" dirty="0">
                <a:solidFill>
                  <a:srgbClr val="008CCD"/>
                </a:solidFill>
                <a:latin typeface="Arial" panose="020B0604020202020204"/>
              </a:rPr>
              <a:t>CBAM can work for our sector </a:t>
            </a:r>
            <a:endParaRPr lang="en-GB" sz="1200" dirty="0">
              <a:solidFill>
                <a:srgbClr val="008CCD"/>
              </a:solidFill>
              <a:latin typeface="Arial" panose="020B0604020202020204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331FF89-8252-4C09-B4C5-C56DD12E6D0C}"/>
              </a:ext>
            </a:extLst>
          </p:cNvPr>
          <p:cNvSpPr txBox="1"/>
          <p:nvPr/>
        </p:nvSpPr>
        <p:spPr>
          <a:xfrm>
            <a:off x="3158919" y="4603764"/>
            <a:ext cx="3072952" cy="538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en-US" sz="1450" dirty="0">
                <a:solidFill>
                  <a:srgbClr val="5C8193"/>
                </a:solidFill>
                <a:latin typeface="Arial" panose="020B0604020202020204"/>
              </a:rPr>
              <a:t>The threat has already undermined Europe as investment destination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4E7670A-6B3E-48FC-95FA-FB4D5491C7FD}"/>
              </a:ext>
            </a:extLst>
          </p:cNvPr>
          <p:cNvSpPr txBox="1"/>
          <p:nvPr/>
        </p:nvSpPr>
        <p:spPr>
          <a:xfrm>
            <a:off x="463369" y="881924"/>
            <a:ext cx="8981609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50" dirty="0">
                <a:solidFill>
                  <a:srgbClr val="008CCD"/>
                </a:solidFill>
                <a:latin typeface="Arial" panose="020B0604020202020204"/>
              </a:rPr>
              <a:t>Today we’ll share our thoughts on the EP CBAM report. But before, we have 4 key messages: </a:t>
            </a:r>
            <a:endParaRPr lang="LID4096" sz="1650" dirty="0">
              <a:solidFill>
                <a:srgbClr val="008CCD"/>
              </a:solidFill>
              <a:latin typeface="Arial" panose="020B0604020202020204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002A5D6-ABDC-4C27-9E0C-0EF154E6455B}"/>
              </a:ext>
            </a:extLst>
          </p:cNvPr>
          <p:cNvSpPr txBox="1"/>
          <p:nvPr/>
        </p:nvSpPr>
        <p:spPr>
          <a:xfrm>
            <a:off x="604255" y="4623981"/>
            <a:ext cx="233132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500" dirty="0">
                <a:solidFill>
                  <a:srgbClr val="5C8193"/>
                </a:solidFill>
                <a:latin typeface="Arial" panose="020B0604020202020204"/>
              </a:rPr>
              <a:t>But…we are getting weakened protection…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9201B98-4A85-4083-A6F0-AEBE62A3B7C7}"/>
              </a:ext>
            </a:extLst>
          </p:cNvPr>
          <p:cNvSpPr txBox="1"/>
          <p:nvPr/>
        </p:nvSpPr>
        <p:spPr>
          <a:xfrm>
            <a:off x="722108" y="5323753"/>
            <a:ext cx="20708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600" b="1" dirty="0">
                <a:solidFill>
                  <a:srgbClr val="01B5B3"/>
                </a:solidFill>
                <a:latin typeface="Arial" panose="020B0604020202020204"/>
              </a:rPr>
              <a:t>The result will be further carbon leakage…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C463758-5D58-4D09-A8D6-7D4DA2107216}"/>
              </a:ext>
            </a:extLst>
          </p:cNvPr>
          <p:cNvSpPr txBox="1"/>
          <p:nvPr/>
        </p:nvSpPr>
        <p:spPr>
          <a:xfrm>
            <a:off x="2940623" y="5303595"/>
            <a:ext cx="341878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en-US" sz="1500" b="1" dirty="0">
                <a:solidFill>
                  <a:srgbClr val="5C8193"/>
                </a:solidFill>
                <a:latin typeface="Arial" panose="020B0604020202020204"/>
              </a:rPr>
              <a:t>To invest in low-CO2 technologies of tomorrow, </a:t>
            </a:r>
            <a:r>
              <a:rPr lang="en-US" sz="1500" b="1" dirty="0">
                <a:solidFill>
                  <a:srgbClr val="00919F"/>
                </a:solidFill>
                <a:latin typeface="Arial" panose="020B0604020202020204"/>
              </a:rPr>
              <a:t>we need certainty today </a:t>
            </a:r>
            <a:r>
              <a:rPr lang="en-US" sz="1500" b="1" dirty="0">
                <a:solidFill>
                  <a:srgbClr val="5C8193"/>
                </a:solidFill>
                <a:latin typeface="Arial" panose="020B0604020202020204"/>
              </a:rPr>
              <a:t>of our existing carbon leakage provisions till at least 2030</a:t>
            </a:r>
            <a:r>
              <a:rPr lang="en-US" sz="1500" b="1" dirty="0">
                <a:solidFill>
                  <a:srgbClr val="00919F"/>
                </a:solidFill>
                <a:latin typeface="Arial" panose="020B0604020202020204"/>
              </a:rPr>
              <a:t> 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77C4E2E-857E-4F68-AAEA-59EF345D9CE8}"/>
              </a:ext>
            </a:extLst>
          </p:cNvPr>
          <p:cNvGrpSpPr/>
          <p:nvPr/>
        </p:nvGrpSpPr>
        <p:grpSpPr>
          <a:xfrm>
            <a:off x="9219849" y="1374508"/>
            <a:ext cx="2779789" cy="3206108"/>
            <a:chOff x="6283666" y="1078806"/>
            <a:chExt cx="3317914" cy="3206108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959057D-C39B-48D4-8DB2-BE0462C91676}"/>
                </a:ext>
              </a:extLst>
            </p:cNvPr>
            <p:cNvGrpSpPr/>
            <p:nvPr/>
          </p:nvGrpSpPr>
          <p:grpSpPr>
            <a:xfrm>
              <a:off x="6283666" y="1078806"/>
              <a:ext cx="3317914" cy="3206108"/>
              <a:chOff x="5855517" y="2172388"/>
              <a:chExt cx="3317914" cy="3137711"/>
            </a:xfrm>
          </p:grpSpPr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68FC15B7-67D4-4CC2-BFD9-97CB9FC1940F}"/>
                  </a:ext>
                </a:extLst>
              </p:cNvPr>
              <p:cNvGrpSpPr/>
              <p:nvPr/>
            </p:nvGrpSpPr>
            <p:grpSpPr>
              <a:xfrm>
                <a:off x="5868412" y="2172388"/>
                <a:ext cx="3005503" cy="1689845"/>
                <a:chOff x="2221511" y="2314313"/>
                <a:chExt cx="2665911" cy="1241479"/>
              </a:xfrm>
              <a:solidFill>
                <a:schemeClr val="accent3">
                  <a:lumMod val="75000"/>
                </a:schemeClr>
              </a:solidFill>
            </p:grpSpPr>
            <p:sp>
              <p:nvSpPr>
                <p:cNvPr id="63" name="Rounded Rectangle 44">
                  <a:extLst>
                    <a:ext uri="{FF2B5EF4-FFF2-40B4-BE49-F238E27FC236}">
                      <a16:creationId xmlns:a16="http://schemas.microsoft.com/office/drawing/2014/main" id="{4B836BCE-66F4-4169-ABDC-D187612487E6}"/>
                    </a:ext>
                  </a:extLst>
                </p:cNvPr>
                <p:cNvSpPr/>
                <p:nvPr/>
              </p:nvSpPr>
              <p:spPr>
                <a:xfrm>
                  <a:off x="2221511" y="2314313"/>
                  <a:ext cx="2665911" cy="1241479"/>
                </a:xfrm>
                <a:prstGeom prst="round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n-GB" dirty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3FB952F4-121E-4CB5-9831-79F1E9173E4B}"/>
                    </a:ext>
                  </a:extLst>
                </p:cNvPr>
                <p:cNvSpPr/>
                <p:nvPr/>
              </p:nvSpPr>
              <p:spPr>
                <a:xfrm>
                  <a:off x="3312605" y="2410143"/>
                  <a:ext cx="547596" cy="372228"/>
                </a:xfrm>
                <a:prstGeom prst="ellipse">
                  <a:avLst/>
                </a:prstGeom>
                <a:solidFill>
                  <a:srgbClr val="EDF1F4"/>
                </a:solidFill>
                <a:ln>
                  <a:noFill/>
                </a:ln>
              </p:spPr>
              <p:style>
                <a:lnRef idx="2">
                  <a:schemeClr val="accent6">
                    <a:shade val="50000"/>
                  </a:schemeClr>
                </a:lnRef>
                <a:fillRef idx="1">
                  <a:schemeClr val="accent6"/>
                </a:fillRef>
                <a:effectRef idx="0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n-GB">
                    <a:solidFill>
                      <a:srgbClr val="EDF1F4"/>
                    </a:solidFill>
                    <a:latin typeface="Arial" panose="020B0604020202020204"/>
                  </a:endParaRPr>
                </a:p>
              </p:txBody>
            </p:sp>
          </p:grp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28D6B43E-4113-4038-8286-23EDEF9BC117}"/>
                  </a:ext>
                </a:extLst>
              </p:cNvPr>
              <p:cNvSpPr txBox="1"/>
              <p:nvPr/>
            </p:nvSpPr>
            <p:spPr>
              <a:xfrm>
                <a:off x="7227136" y="2348686"/>
                <a:ext cx="342164" cy="3915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fr-BE" sz="2000" b="1" dirty="0">
                    <a:solidFill>
                      <a:srgbClr val="00919F"/>
                    </a:solidFill>
                    <a:latin typeface="Arial" panose="020B0604020202020204"/>
                  </a:rPr>
                  <a:t>4</a:t>
                </a:r>
                <a:endParaRPr lang="en-GB" sz="2000" b="1" dirty="0">
                  <a:solidFill>
                    <a:srgbClr val="00919F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36259C8A-0A3B-4DA1-B712-3B9B586D92C5}"/>
                  </a:ext>
                </a:extLst>
              </p:cNvPr>
              <p:cNvGrpSpPr/>
              <p:nvPr/>
            </p:nvGrpSpPr>
            <p:grpSpPr>
              <a:xfrm>
                <a:off x="5855517" y="3941375"/>
                <a:ext cx="3317914" cy="1368724"/>
                <a:chOff x="5855517" y="3941375"/>
                <a:chExt cx="3317914" cy="1368724"/>
              </a:xfrm>
            </p:grpSpPr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2F8F849B-4B6E-4F1B-9608-C8934EFAA443}"/>
                    </a:ext>
                  </a:extLst>
                </p:cNvPr>
                <p:cNvSpPr txBox="1"/>
                <p:nvPr/>
              </p:nvSpPr>
              <p:spPr>
                <a:xfrm>
                  <a:off x="5855517" y="4316104"/>
                  <a:ext cx="3317914" cy="9939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defRPr/>
                  </a:pPr>
                  <a:r>
                    <a:rPr lang="fr-BE" sz="1500" dirty="0">
                      <a:solidFill>
                        <a:srgbClr val="01B5B3"/>
                      </a:solidFill>
                      <a:latin typeface="Arial" panose="020B0604020202020204"/>
                    </a:rPr>
                    <a:t>A</a:t>
                  </a:r>
                  <a:r>
                    <a:rPr lang="en-US" sz="1500" dirty="0">
                      <a:solidFill>
                        <a:srgbClr val="01B5B3"/>
                      </a:solidFill>
                      <a:latin typeface="Arial" panose="020B0604020202020204"/>
                    </a:rPr>
                    <a:t> combination of policies            (no one- silver bullet) to achieve 2050’s goal while keeping industrial base:</a:t>
                  </a:r>
                  <a:endParaRPr lang="en-GB" sz="1500" dirty="0">
                    <a:solidFill>
                      <a:srgbClr val="01B5B3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2" name="Right Arrow 43">
                  <a:extLst>
                    <a:ext uri="{FF2B5EF4-FFF2-40B4-BE49-F238E27FC236}">
                      <a16:creationId xmlns:a16="http://schemas.microsoft.com/office/drawing/2014/main" id="{BDB4716A-C35F-4834-8929-B4598CC1C947}"/>
                    </a:ext>
                  </a:extLst>
                </p:cNvPr>
                <p:cNvSpPr/>
                <p:nvPr/>
              </p:nvSpPr>
              <p:spPr>
                <a:xfrm rot="5400000">
                  <a:off x="7315385" y="3853126"/>
                  <a:ext cx="310625" cy="487123"/>
                </a:xfrm>
                <a:prstGeom prst="rightArrow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n-US" dirty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24933B53-B295-4AFD-9EBF-46E0CAB267BF}"/>
                </a:ext>
              </a:extLst>
            </p:cNvPr>
            <p:cNvSpPr txBox="1"/>
            <p:nvPr/>
          </p:nvSpPr>
          <p:spPr>
            <a:xfrm>
              <a:off x="6505204" y="1861540"/>
              <a:ext cx="2787286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GB" sz="1700" b="1" dirty="0">
                  <a:solidFill>
                    <a:srgbClr val="FFFFFF"/>
                  </a:solidFill>
                  <a:latin typeface="Arial" panose="020B0604020202020204"/>
                </a:rPr>
                <a:t>Instead a toolkit of measures is needed</a:t>
              </a: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63BDBD4C-0FBC-4420-9257-0C60E05BBCCA}"/>
              </a:ext>
            </a:extLst>
          </p:cNvPr>
          <p:cNvSpPr txBox="1"/>
          <p:nvPr/>
        </p:nvSpPr>
        <p:spPr>
          <a:xfrm>
            <a:off x="9250603" y="4762218"/>
            <a:ext cx="307647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254000">
              <a:buFont typeface="+mj-lt"/>
              <a:buAutoNum type="arabicPeriod"/>
            </a:pPr>
            <a:r>
              <a:rPr lang="en-GB" sz="1600" b="1" dirty="0">
                <a:solidFill>
                  <a:srgbClr val="00919F"/>
                </a:solidFill>
                <a:latin typeface="Arial" panose="020B0604020202020204"/>
              </a:rPr>
              <a:t>Keep existing carbon leakage provisions to 2030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BA577FD-933A-4C97-BE3E-CBA0F84CE9ED}"/>
              </a:ext>
            </a:extLst>
          </p:cNvPr>
          <p:cNvSpPr txBox="1"/>
          <p:nvPr/>
        </p:nvSpPr>
        <p:spPr>
          <a:xfrm>
            <a:off x="9230653" y="5581966"/>
            <a:ext cx="288418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+mj-lt"/>
              <a:buAutoNum type="arabicPeriod"/>
              <a:defRPr sz="1600" b="1">
                <a:solidFill>
                  <a:schemeClr val="accent6"/>
                </a:solidFill>
              </a:defRPr>
            </a:lvl1pPr>
          </a:lstStyle>
          <a:p>
            <a:pPr indent="-254000">
              <a:buFont typeface="+mj-lt"/>
              <a:buAutoNum type="arabicPeriod" startAt="2"/>
            </a:pPr>
            <a:r>
              <a:rPr lang="en-US" sz="1400" dirty="0">
                <a:solidFill>
                  <a:srgbClr val="00919F"/>
                </a:solidFill>
                <a:latin typeface="Arial" panose="020B0604020202020204"/>
              </a:rPr>
              <a:t>The delivery of framework conditions and a combination of push &amp; pull facto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E7B47B1-AB39-4D35-B0C1-A0754E7FCBDB}"/>
              </a:ext>
            </a:extLst>
          </p:cNvPr>
          <p:cNvSpPr txBox="1"/>
          <p:nvPr/>
        </p:nvSpPr>
        <p:spPr>
          <a:xfrm>
            <a:off x="10374551" y="5290387"/>
            <a:ext cx="307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800" b="1" dirty="0">
                <a:solidFill>
                  <a:srgbClr val="CCF0EF">
                    <a:lumMod val="75000"/>
                  </a:srgbClr>
                </a:solidFill>
                <a:latin typeface="Arial" panose="020B0604020202020204"/>
              </a:rPr>
              <a:t>+</a:t>
            </a:r>
            <a:endParaRPr lang="en-GB" sz="2800" b="1" dirty="0">
              <a:solidFill>
                <a:srgbClr val="CCF0EF">
                  <a:lumMod val="75000"/>
                </a:srgbClr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1624135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CE2298-F039-4479-90F3-BE11421476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g.</a:t>
            </a:r>
            <a:fld id="{697EEA80-4864-8244-975C-B3367BB7ED1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903CFD-E62C-4690-BC9F-8A4E068FDDED}"/>
              </a:ext>
            </a:extLst>
          </p:cNvPr>
          <p:cNvSpPr txBox="1">
            <a:spLocks/>
          </p:cNvSpPr>
          <p:nvPr/>
        </p:nvSpPr>
        <p:spPr>
          <a:xfrm>
            <a:off x="518160" y="303879"/>
            <a:ext cx="7886700" cy="727245"/>
          </a:xfrm>
          <a:prstGeom prst="rect">
            <a:avLst/>
          </a:prstGeom>
        </p:spPr>
        <p:txBody>
          <a:bodyPr wrap="square" lIns="0" tIns="0" rIns="9000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Assessment of European Parliament Position</a:t>
            </a:r>
            <a:endParaRPr lang="LID4096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42EDF1-5032-4854-96A1-041F588EE634}"/>
              </a:ext>
            </a:extLst>
          </p:cNvPr>
          <p:cNvGrpSpPr/>
          <p:nvPr/>
        </p:nvGrpSpPr>
        <p:grpSpPr>
          <a:xfrm>
            <a:off x="0" y="763987"/>
            <a:ext cx="12192000" cy="727245"/>
            <a:chOff x="0" y="939906"/>
            <a:chExt cx="9091663" cy="72724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209D88F-822F-49C0-8A81-4EA912CBEAB2}"/>
                </a:ext>
              </a:extLst>
            </p:cNvPr>
            <p:cNvSpPr/>
            <p:nvPr/>
          </p:nvSpPr>
          <p:spPr>
            <a:xfrm>
              <a:off x="0" y="939906"/>
              <a:ext cx="9091663" cy="72724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F40A058-2482-4CAB-8080-D2ED559105A3}"/>
                </a:ext>
              </a:extLst>
            </p:cNvPr>
            <p:cNvSpPr txBox="1"/>
            <p:nvPr/>
          </p:nvSpPr>
          <p:spPr>
            <a:xfrm>
              <a:off x="356787" y="1055603"/>
              <a:ext cx="8734875" cy="3539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Our </a:t>
              </a:r>
              <a:r>
                <a:rPr lang="fr-BE" sz="1700" dirty="0" err="1">
                  <a:solidFill>
                    <a:srgbClr val="5C8193"/>
                  </a:solidFill>
                  <a:latin typeface="Arial" panose="020B0604020202020204"/>
                </a:rPr>
                <a:t>reaction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to the </a:t>
              </a:r>
              <a:r>
                <a:rPr lang="fr-BE" sz="1700" dirty="0" err="1">
                  <a:solidFill>
                    <a:srgbClr val="5C8193"/>
                  </a:solidFill>
                  <a:latin typeface="Arial" panose="020B0604020202020204"/>
                </a:rPr>
                <a:t>European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</a:t>
              </a:r>
              <a:r>
                <a:rPr lang="fr-BE" sz="1700" dirty="0" err="1">
                  <a:solidFill>
                    <a:srgbClr val="5C8193"/>
                  </a:solidFill>
                  <a:latin typeface="Arial" panose="020B0604020202020204"/>
                </a:rPr>
                <a:t>Parliament’s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</a:t>
              </a:r>
              <a:r>
                <a:rPr lang="fr-BE" sz="1700" dirty="0" err="1">
                  <a:solidFill>
                    <a:srgbClr val="5C8193"/>
                  </a:solidFill>
                  <a:latin typeface="Arial" panose="020B0604020202020204"/>
                </a:rPr>
                <a:t>Own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Initiative Report on CBAM </a:t>
              </a:r>
              <a:r>
                <a:rPr lang="en-GB" sz="1700" dirty="0">
                  <a:solidFill>
                    <a:srgbClr val="5C8193"/>
                  </a:solidFill>
                  <a:latin typeface="Arial" panose="020B0604020202020204"/>
                </a:rPr>
                <a:t>(2020/2043(INI)) 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</a:t>
              </a:r>
            </a:p>
          </p:txBody>
        </p:sp>
      </p:grpSp>
      <p:pic>
        <p:nvPicPr>
          <p:cNvPr id="10" name="Picture 4" descr="Image result for european parliament symbol">
            <a:extLst>
              <a:ext uri="{FF2B5EF4-FFF2-40B4-BE49-F238E27FC236}">
                <a16:creationId xmlns:a16="http://schemas.microsoft.com/office/drawing/2014/main" id="{05CBBCA1-49C8-46EF-8FF3-B1CF400FB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0240" y="270816"/>
            <a:ext cx="1188720" cy="757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D80CD34-59AE-41A0-A910-D92758581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916555"/>
              </p:ext>
            </p:extLst>
          </p:nvPr>
        </p:nvGraphicFramePr>
        <p:xfrm>
          <a:off x="2" y="1242938"/>
          <a:ext cx="12191998" cy="52601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1800">
                  <a:extLst>
                    <a:ext uri="{9D8B030D-6E8A-4147-A177-3AD203B41FA5}">
                      <a16:colId xmlns:a16="http://schemas.microsoft.com/office/drawing/2014/main" val="481144568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375346171"/>
                    </a:ext>
                  </a:extLst>
                </a:gridCol>
                <a:gridCol w="2832100">
                  <a:extLst>
                    <a:ext uri="{9D8B030D-6E8A-4147-A177-3AD203B41FA5}">
                      <a16:colId xmlns:a16="http://schemas.microsoft.com/office/drawing/2014/main" val="3216349140"/>
                    </a:ext>
                  </a:extLst>
                </a:gridCol>
                <a:gridCol w="4838698">
                  <a:extLst>
                    <a:ext uri="{9D8B030D-6E8A-4147-A177-3AD203B41FA5}">
                      <a16:colId xmlns:a16="http://schemas.microsoft.com/office/drawing/2014/main" val="3951823888"/>
                    </a:ext>
                  </a:extLst>
                </a:gridCol>
              </a:tblGrid>
              <a:tr h="432212"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ssue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P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opted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Position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ur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ssessment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6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  <a:r>
                        <a:rPr lang="fr-BE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6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e</a:t>
                      </a:r>
                      <a:r>
                        <a:rPr lang="fr-BE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6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ould</a:t>
                      </a:r>
                      <a:r>
                        <a:rPr lang="fr-BE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like to </a:t>
                      </a:r>
                      <a:r>
                        <a:rPr lang="fr-BE" sz="16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e</a:t>
                      </a:r>
                      <a:r>
                        <a:rPr lang="fr-BE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n CBAM </a:t>
                      </a:r>
                      <a:r>
                        <a:rPr lang="fr-BE" sz="16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posal</a:t>
                      </a:r>
                      <a:endParaRPr lang="en-GB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761135"/>
                  </a:ext>
                </a:extLst>
              </a:tr>
              <a:tr h="1085766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B5B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toral scope</a:t>
                      </a:r>
                      <a:endParaRPr lang="en-GB" sz="18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ilot CBAM for power, cement, steel, </a:t>
                      </a:r>
                      <a:r>
                        <a:rPr kumimoji="0" lang="en-US" sz="12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uminium</a:t>
                      </a: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oil refinery, paper, glass, chemicals and </a:t>
                      </a:r>
                      <a:r>
                        <a:rPr kumimoji="0" lang="en-US" sz="1200" b="0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ertilisers</a:t>
                      </a: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s of 2023, and eventual roll-out to </a:t>
                      </a:r>
                      <a:r>
                        <a:rPr kumimoji="0" lang="en-US" sz="1200" b="0" i="0" u="sng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ll ETS sectors</a:t>
                      </a:r>
                      <a:endParaRPr kumimoji="0" lang="en-GB" sz="12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Regret that EP has included aluminium in pilot phase and all ETS sector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ed impact assessment to assess the suitability for each individual sector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t will not be effective for all sectors (Such as non ferrous), effectiveness as a carbon leakage measure should be the key criteria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484476"/>
                  </a:ext>
                </a:extLst>
              </a:tr>
              <a:tr h="1576112">
                <a:tc>
                  <a:txBody>
                    <a:bodyPr/>
                    <a:lstStyle/>
                    <a:p>
                      <a:pPr marL="266700" indent="-266700" algn="ctr">
                        <a:buFont typeface="+mj-lt"/>
                        <a:buAutoNum type="arabicPeriod" startAt="2"/>
                      </a:pPr>
                      <a:r>
                        <a:rPr kumimoji="0" lang="en-GB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8CC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issions scope             +          Value chain </a:t>
                      </a:r>
                      <a:endParaRPr lang="en-GB" sz="17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rect &amp; indirect emissions (not costs) </a:t>
                      </a:r>
                      <a:endParaRPr kumimoji="0" lang="en-GB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Focus should be on direct emission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eed clarity on how indirect emissions can be covered and recognition that indirect costs cannot be covered in a CBAM </a:t>
                      </a:r>
                    </a:p>
                    <a:p>
                      <a:endParaRPr lang="en-US" sz="5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Trade-off between administrative burden &amp; effectiveness but the measure should go as far down the value chain as possible (Otherwise limited climate effect) </a:t>
                      </a:r>
                      <a:endParaRPr lang="en-GB" sz="14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734199"/>
                  </a:ext>
                </a:extLst>
              </a:tr>
              <a:tr h="950563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 startAt="3"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B5B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ype of measure </a:t>
                      </a:r>
                      <a:endParaRPr kumimoji="0" lang="en-GB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1B5B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tional ETS </a:t>
                      </a:r>
                      <a:endParaRPr kumimoji="0" lang="en-GB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ot surprising, seems the most likely option in June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ed more details before we can say what is the best mechanism (notional ETS, extension of ETS imports, consumption tax)</a:t>
                      </a:r>
                      <a:endParaRPr lang="en-GB" sz="14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1589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 startAt="4"/>
                      </a:pPr>
                      <a:r>
                        <a:rPr kumimoji="0" lang="en-GB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8CC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isting carbon leakage measures</a:t>
                      </a:r>
                      <a:endParaRPr kumimoji="0" lang="en-GB" sz="17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8CC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osen to maintain measures </a:t>
                      </a:r>
                      <a:endParaRPr kumimoji="0" lang="en-GB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Positive but regulatory certainty has already been undermi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eed full clarity that existing carbon leakage provisions will be maintained until at least 2030 </a:t>
                      </a:r>
                      <a:endParaRPr lang="en-GB" sz="14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3489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61936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CE2298-F039-4479-90F3-BE11421476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g.</a:t>
            </a:r>
            <a:fld id="{697EEA80-4864-8244-975C-B3367BB7ED10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903CFD-E62C-4690-BC9F-8A4E068FDDED}"/>
              </a:ext>
            </a:extLst>
          </p:cNvPr>
          <p:cNvSpPr txBox="1">
            <a:spLocks/>
          </p:cNvSpPr>
          <p:nvPr/>
        </p:nvSpPr>
        <p:spPr>
          <a:xfrm>
            <a:off x="518160" y="303879"/>
            <a:ext cx="7886700" cy="727245"/>
          </a:xfrm>
          <a:prstGeom prst="rect">
            <a:avLst/>
          </a:prstGeom>
        </p:spPr>
        <p:txBody>
          <a:bodyPr wrap="square" lIns="0" tIns="0" rIns="9000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Assessment of European Parliament Position</a:t>
            </a:r>
            <a:endParaRPr lang="LID4096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42EDF1-5032-4854-96A1-041F588EE634}"/>
              </a:ext>
            </a:extLst>
          </p:cNvPr>
          <p:cNvGrpSpPr/>
          <p:nvPr/>
        </p:nvGrpSpPr>
        <p:grpSpPr>
          <a:xfrm>
            <a:off x="0" y="763987"/>
            <a:ext cx="12192000" cy="727245"/>
            <a:chOff x="0" y="939906"/>
            <a:chExt cx="9091663" cy="72724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209D88F-822F-49C0-8A81-4EA912CBEAB2}"/>
                </a:ext>
              </a:extLst>
            </p:cNvPr>
            <p:cNvSpPr/>
            <p:nvPr/>
          </p:nvSpPr>
          <p:spPr>
            <a:xfrm>
              <a:off x="0" y="939906"/>
              <a:ext cx="9091663" cy="72724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F40A058-2482-4CAB-8080-D2ED559105A3}"/>
                </a:ext>
              </a:extLst>
            </p:cNvPr>
            <p:cNvSpPr txBox="1"/>
            <p:nvPr/>
          </p:nvSpPr>
          <p:spPr>
            <a:xfrm>
              <a:off x="356787" y="1055603"/>
              <a:ext cx="8734875" cy="3539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Our </a:t>
              </a:r>
              <a:r>
                <a:rPr lang="fr-BE" sz="1700" dirty="0" err="1">
                  <a:solidFill>
                    <a:srgbClr val="5C8193"/>
                  </a:solidFill>
                  <a:latin typeface="Arial" panose="020B0604020202020204"/>
                </a:rPr>
                <a:t>reaction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to the </a:t>
              </a:r>
              <a:r>
                <a:rPr lang="fr-BE" sz="1700" dirty="0" err="1">
                  <a:solidFill>
                    <a:srgbClr val="5C8193"/>
                  </a:solidFill>
                  <a:latin typeface="Arial" panose="020B0604020202020204"/>
                </a:rPr>
                <a:t>European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</a:t>
              </a:r>
              <a:r>
                <a:rPr lang="fr-BE" sz="1700" dirty="0" err="1">
                  <a:solidFill>
                    <a:srgbClr val="5C8193"/>
                  </a:solidFill>
                  <a:latin typeface="Arial" panose="020B0604020202020204"/>
                </a:rPr>
                <a:t>Parliament’s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</a:t>
              </a:r>
              <a:r>
                <a:rPr lang="fr-BE" sz="1700" dirty="0" err="1">
                  <a:solidFill>
                    <a:srgbClr val="5C8193"/>
                  </a:solidFill>
                  <a:latin typeface="Arial" panose="020B0604020202020204"/>
                </a:rPr>
                <a:t>Own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Initiative Report on CBAM </a:t>
              </a:r>
              <a:r>
                <a:rPr lang="en-GB" sz="1700" dirty="0">
                  <a:solidFill>
                    <a:srgbClr val="5C8193"/>
                  </a:solidFill>
                  <a:latin typeface="Arial" panose="020B0604020202020204"/>
                </a:rPr>
                <a:t>(2020/2043(INI)) </a:t>
              </a:r>
              <a:r>
                <a:rPr lang="fr-BE" sz="1700" dirty="0">
                  <a:solidFill>
                    <a:srgbClr val="5C8193"/>
                  </a:solidFill>
                  <a:latin typeface="Arial" panose="020B0604020202020204"/>
                </a:rPr>
                <a:t> </a:t>
              </a:r>
            </a:p>
          </p:txBody>
        </p:sp>
      </p:grpSp>
      <p:pic>
        <p:nvPicPr>
          <p:cNvPr id="10" name="Picture 4" descr="Image result for european parliament symbol">
            <a:extLst>
              <a:ext uri="{FF2B5EF4-FFF2-40B4-BE49-F238E27FC236}">
                <a16:creationId xmlns:a16="http://schemas.microsoft.com/office/drawing/2014/main" id="{05CBBCA1-49C8-46EF-8FF3-B1CF400FB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0240" y="270816"/>
            <a:ext cx="1188720" cy="757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D80CD34-59AE-41A0-A910-D92758581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267890"/>
              </p:ext>
            </p:extLst>
          </p:nvPr>
        </p:nvGraphicFramePr>
        <p:xfrm>
          <a:off x="2" y="1349324"/>
          <a:ext cx="12191998" cy="50609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01800">
                  <a:extLst>
                    <a:ext uri="{9D8B030D-6E8A-4147-A177-3AD203B41FA5}">
                      <a16:colId xmlns:a16="http://schemas.microsoft.com/office/drawing/2014/main" val="481144568"/>
                    </a:ext>
                  </a:extLst>
                </a:gridCol>
                <a:gridCol w="2641598">
                  <a:extLst>
                    <a:ext uri="{9D8B030D-6E8A-4147-A177-3AD203B41FA5}">
                      <a16:colId xmlns:a16="http://schemas.microsoft.com/office/drawing/2014/main" val="375346171"/>
                    </a:ext>
                  </a:extLst>
                </a:gridCol>
                <a:gridCol w="3212650">
                  <a:extLst>
                    <a:ext uri="{9D8B030D-6E8A-4147-A177-3AD203B41FA5}">
                      <a16:colId xmlns:a16="http://schemas.microsoft.com/office/drawing/2014/main" val="3216349140"/>
                    </a:ext>
                  </a:extLst>
                </a:gridCol>
                <a:gridCol w="4635950">
                  <a:extLst>
                    <a:ext uri="{9D8B030D-6E8A-4147-A177-3AD203B41FA5}">
                      <a16:colId xmlns:a16="http://schemas.microsoft.com/office/drawing/2014/main" val="3951823888"/>
                    </a:ext>
                  </a:extLst>
                </a:gridCol>
              </a:tblGrid>
              <a:tr h="489914"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ssue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P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opted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Position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ur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ssessment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eeded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oing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rwards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761135"/>
                  </a:ext>
                </a:extLst>
              </a:tr>
              <a:tr h="1006508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 startAt="5"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B5B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de flows</a:t>
                      </a:r>
                      <a:endParaRPr lang="en-GB" sz="18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orts + possible export rebates limited to EU best performers if WTO compatible &amp; climate-friend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Positive that EP has understood the important of this and tried to find a solution</a:t>
                      </a:r>
                      <a:endParaRPr lang="en-GB" sz="14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e are concerned about retaliatory measures. Looking ahead, we need clarity that export rebates can be design in a WTO compatible mann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484476"/>
                  </a:ext>
                </a:extLst>
              </a:tr>
              <a:tr h="1485619">
                <a:tc>
                  <a:txBody>
                    <a:bodyPr/>
                    <a:lstStyle/>
                    <a:p>
                      <a:pPr marL="266700" indent="-266700" algn="ctr">
                        <a:buFont typeface="+mj-lt"/>
                        <a:buAutoNum type="arabicPeriod" startAt="6"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8CC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termining embedded emissions of third  countries </a:t>
                      </a:r>
                      <a:endParaRPr lang="en-GB" sz="16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tional/installation-level carbon intensity in exporting countries; Alternative </a:t>
                      </a: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</a:t>
                      </a:r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lobal average </a:t>
                      </a:r>
                      <a:endParaRPr kumimoji="0" lang="en-GB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The EP position is rather vague and op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Concern that it can be easily circumvented through:</a:t>
                      </a:r>
                    </a:p>
                    <a:p>
                      <a:pPr marL="400050" indent="-400050">
                        <a:buFont typeface="+mj-lt"/>
                        <a:buAutoNum type="romanLcPeriod"/>
                      </a:pPr>
                      <a:r>
                        <a:rPr lang="en-US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Avoidance based on change in product, </a:t>
                      </a:r>
                    </a:p>
                    <a:p>
                      <a:pPr marL="400050" indent="-400050">
                        <a:buFont typeface="+mj-lt"/>
                        <a:buAutoNum type="romanLcPeriod"/>
                      </a:pPr>
                      <a:r>
                        <a:rPr lang="en-US" sz="1400" kern="1200" dirty="0" err="1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Transhipment</a:t>
                      </a:r>
                      <a:r>
                        <a:rPr lang="en-US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strategies, </a:t>
                      </a:r>
                    </a:p>
                    <a:p>
                      <a:pPr marL="400050" indent="-400050">
                        <a:buFont typeface="+mj-lt"/>
                        <a:buAutoNum type="romanLcPeriod"/>
                      </a:pPr>
                      <a:r>
                        <a:rPr lang="en-US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Resource shuffling </a:t>
                      </a:r>
                      <a:endParaRPr lang="en-GB" sz="140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734199"/>
                  </a:ext>
                </a:extLst>
              </a:tr>
              <a:tr h="1347422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 startAt="7"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B5B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diting for foreign climate policies</a:t>
                      </a:r>
                      <a:endParaRPr kumimoji="0" lang="en-GB" sz="1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1B5B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sure crediting</a:t>
                      </a:r>
                      <a:endParaRPr kumimoji="0" lang="en-GB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Open to interpretation whether crediting refers to carbon pricing policies onl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hat matters though is the actual carbon costs that industries will face. Even is countries introduce carbon pricing many will exempt their industry from direct and indirect carbon costs. </a:t>
                      </a:r>
                      <a:endParaRPr lang="en-GB" sz="140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158978"/>
                  </a:ext>
                </a:extLst>
              </a:tr>
              <a:tr h="690986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 startAt="8"/>
                      </a:pPr>
                      <a:r>
                        <a:rPr kumimoji="0" lang="en-GB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8CC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e of revenues</a:t>
                      </a:r>
                      <a:endParaRPr kumimoji="0" lang="en-GB" sz="17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8CC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U own resources supporting domestic and international climate objectives</a:t>
                      </a:r>
                      <a:endParaRPr kumimoji="0" lang="en-GB" sz="12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Revenues needed for projects that support electrification to reduce industry’s carbon footprint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eed fully clarity that existing carbon leakage provisions will be maintained until at least 2030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3489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7884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491885" y="4381053"/>
            <a:ext cx="10515600" cy="201589"/>
          </a:xfrm>
        </p:spPr>
        <p:txBody>
          <a:bodyPr/>
          <a:lstStyle/>
          <a:p>
            <a:r>
              <a:rPr lang="en-US" sz="1400" dirty="0"/>
              <a:t>Director Energy and Climate Change</a:t>
            </a:r>
            <a:endParaRPr lang="en-GB" sz="14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92042" y="3995089"/>
            <a:ext cx="10515443" cy="258471"/>
          </a:xfrm>
        </p:spPr>
        <p:txBody>
          <a:bodyPr/>
          <a:lstStyle/>
          <a:p>
            <a:r>
              <a:rPr lang="en-US" sz="1800" dirty="0"/>
              <a:t>Cillian O’Donoghue</a:t>
            </a:r>
            <a:endParaRPr lang="en-GB" sz="180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91067" y="4710135"/>
            <a:ext cx="4853517" cy="257861"/>
          </a:xfrm>
        </p:spPr>
        <p:txBody>
          <a:bodyPr/>
          <a:lstStyle/>
          <a:p>
            <a:r>
              <a:rPr lang="en-US" sz="1800" dirty="0">
                <a:solidFill>
                  <a:schemeClr val="bg1"/>
                </a:solidFill>
              </a:rPr>
              <a:t>odonoghue@eurometaux.be</a:t>
            </a:r>
            <a:endParaRPr lang="en-GB" sz="18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064371" y="5762446"/>
            <a:ext cx="4934486" cy="327804"/>
            <a:chOff x="6064371" y="5762446"/>
            <a:chExt cx="4934486" cy="327804"/>
          </a:xfrm>
        </p:grpSpPr>
        <p:sp>
          <p:nvSpPr>
            <p:cNvPr id="3" name="Rectangle 2"/>
            <p:cNvSpPr/>
            <p:nvPr/>
          </p:nvSpPr>
          <p:spPr>
            <a:xfrm>
              <a:off x="6064371" y="5762446"/>
              <a:ext cx="2613803" cy="32780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7487906" y="5823050"/>
              <a:ext cx="3510951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venue de </a:t>
              </a:r>
              <a:r>
                <a:rPr kumimoji="0" lang="fr-BE" sz="7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rvueren</a:t>
              </a:r>
              <a:r>
                <a:rPr kumimoji="0" lang="fr-BE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, 168</a:t>
              </a:r>
              <a:endPara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1368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0.xml><?xml version="1.0" encoding="utf-8"?>
<a:theme xmlns:a="http://schemas.openxmlformats.org/drawingml/2006/main" name="7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1.xml><?xml version="1.0" encoding="utf-8"?>
<a:theme xmlns:a="http://schemas.openxmlformats.org/drawingml/2006/main" name="8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2.xml><?xml version="1.0" encoding="utf-8"?>
<a:theme xmlns:a="http://schemas.openxmlformats.org/drawingml/2006/main" name="9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3.xml><?xml version="1.0" encoding="utf-8"?>
<a:theme xmlns:a="http://schemas.openxmlformats.org/drawingml/2006/main" name="10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4.xml><?xml version="1.0" encoding="utf-8"?>
<a:theme xmlns:a="http://schemas.openxmlformats.org/drawingml/2006/main" name="1_Hydro Theme">
  <a:themeElements>
    <a:clrScheme name="Hydro 2018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768692"/>
      </a:accent2>
      <a:accent3>
        <a:srgbClr val="43807A"/>
      </a:accent3>
      <a:accent4>
        <a:srgbClr val="C5B9AC"/>
      </a:accent4>
      <a:accent5>
        <a:srgbClr val="4A3041"/>
      </a:accent5>
      <a:accent6>
        <a:srgbClr val="B95946"/>
      </a:accent6>
      <a:hlink>
        <a:srgbClr val="768692"/>
      </a:hlink>
      <a:folHlink>
        <a:srgbClr val="444D55"/>
      </a:folHlink>
    </a:clrScheme>
    <a:fontScheme name="Hydro 2018">
      <a:majorFont>
        <a:latin typeface="Ivar Display Hydro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dro 2018 template with content" id="{8401F904-BEAA-4602-B952-65968AFACB1A}" vid="{9E3A65F9-A881-4301-8A5F-CB2996BDE7CB}"/>
    </a:ext>
  </a:extLst>
</a:theme>
</file>

<file path=ppt/theme/theme15.xml><?xml version="1.0" encoding="utf-8"?>
<a:theme xmlns:a="http://schemas.openxmlformats.org/drawingml/2006/main" name="12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6.xml><?xml version="1.0" encoding="utf-8"?>
<a:theme xmlns:a="http://schemas.openxmlformats.org/drawingml/2006/main" name="14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7.xml><?xml version="1.0" encoding="utf-8"?>
<a:theme xmlns:a="http://schemas.openxmlformats.org/drawingml/2006/main" name="1_4 EM Final Pages">
  <a:themeElements>
    <a:clrScheme name="Custom 3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FFFFFF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2A405F22-39E6-9A45-9510-2EE70568E429}"/>
    </a:ext>
  </a:extLst>
</a:theme>
</file>

<file path=ppt/theme/theme18.xml><?xml version="1.0" encoding="utf-8"?>
<a:theme xmlns:a="http://schemas.openxmlformats.org/drawingml/2006/main" name="3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9.xml><?xml version="1.0" encoding="utf-8"?>
<a:theme xmlns:a="http://schemas.openxmlformats.org/drawingml/2006/main" name="5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.xml><?xml version="1.0" encoding="utf-8"?>
<a:theme xmlns:a="http://schemas.openxmlformats.org/drawingml/2006/main" name="1 EM Cov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0EE32D23-DB8C-3948-A790-06AABB49F4C6}"/>
    </a:ext>
  </a:extLst>
</a:theme>
</file>

<file path=ppt/theme/theme20.xml><?xml version="1.0" encoding="utf-8"?>
<a:theme xmlns:a="http://schemas.openxmlformats.org/drawingml/2006/main" name="15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1.xml><?xml version="1.0" encoding="utf-8"?>
<a:theme xmlns:a="http://schemas.openxmlformats.org/drawingml/2006/main" name="1_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22.xml><?xml version="1.0" encoding="utf-8"?>
<a:theme xmlns:a="http://schemas.openxmlformats.org/drawingml/2006/main" name="2_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23.xml><?xml version="1.0" encoding="utf-8"?>
<a:theme xmlns:a="http://schemas.openxmlformats.org/drawingml/2006/main" name="18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4.xml><?xml version="1.0" encoding="utf-8"?>
<a:theme xmlns:a="http://schemas.openxmlformats.org/drawingml/2006/main" name="2_Hydro Theme">
  <a:themeElements>
    <a:clrScheme name="Hydro 2018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768692"/>
      </a:accent2>
      <a:accent3>
        <a:srgbClr val="43807A"/>
      </a:accent3>
      <a:accent4>
        <a:srgbClr val="C5B9AC"/>
      </a:accent4>
      <a:accent5>
        <a:srgbClr val="4A3041"/>
      </a:accent5>
      <a:accent6>
        <a:srgbClr val="B95946"/>
      </a:accent6>
      <a:hlink>
        <a:srgbClr val="768692"/>
      </a:hlink>
      <a:folHlink>
        <a:srgbClr val="444D55"/>
      </a:folHlink>
    </a:clrScheme>
    <a:fontScheme name="Hydro 2018">
      <a:majorFont>
        <a:latin typeface="Ivar Display Hydro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dro 2018 template with content" id="{8401F904-BEAA-4602-B952-65968AFACB1A}" vid="{9E3A65F9-A881-4301-8A5F-CB2996BDE7CB}"/>
    </a:ext>
  </a:extLst>
</a:theme>
</file>

<file path=ppt/theme/theme25.xml><?xml version="1.0" encoding="utf-8"?>
<a:theme xmlns:a="http://schemas.openxmlformats.org/drawingml/2006/main" name="21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6.xml><?xml version="1.0" encoding="utf-8"?>
<a:theme xmlns:a="http://schemas.openxmlformats.org/drawingml/2006/main" name="22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7.xml><?xml version="1.0" encoding="utf-8"?>
<a:theme xmlns:a="http://schemas.openxmlformats.org/drawingml/2006/main" name="23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8.xml><?xml version="1.0" encoding="utf-8"?>
<a:theme xmlns:a="http://schemas.openxmlformats.org/drawingml/2006/main" name="3_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29.xml><?xml version="1.0" encoding="utf-8"?>
<a:theme xmlns:a="http://schemas.openxmlformats.org/drawingml/2006/main" name="3_Mytilineos Template">
  <a:themeElements>
    <a:clrScheme name="Current">
      <a:dk1>
        <a:srgbClr val="000000"/>
      </a:dk1>
      <a:lt1>
        <a:srgbClr val="FFFFFF"/>
      </a:lt1>
      <a:dk2>
        <a:srgbClr val="0E4367"/>
      </a:dk2>
      <a:lt2>
        <a:srgbClr val="FFFFFF"/>
      </a:lt2>
      <a:accent1>
        <a:srgbClr val="D7DBDF"/>
      </a:accent1>
      <a:accent2>
        <a:srgbClr val="9DA7B1"/>
      </a:accent2>
      <a:accent3>
        <a:srgbClr val="156297"/>
      </a:accent3>
      <a:accent4>
        <a:srgbClr val="0E4367"/>
      </a:accent4>
      <a:accent5>
        <a:srgbClr val="4F5963"/>
      </a:accent5>
      <a:accent6>
        <a:srgbClr val="808080"/>
      </a:accent6>
      <a:hlink>
        <a:srgbClr val="156297"/>
      </a:hlink>
      <a:folHlink>
        <a:srgbClr val="0E436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>
            <a:lumMod val="60000"/>
            <a:lumOff val="40000"/>
          </a:schemeClr>
        </a:solidFill>
        <a:ln w="19050" algn="ctr">
          <a:solidFill>
            <a:schemeClr val="bg1"/>
          </a:solidFill>
          <a:round/>
          <a:headEnd/>
          <a:tailEnd/>
        </a:ln>
        <a:effectLst/>
      </a:spPr>
      <a:bodyPr wrap="none" lIns="0" tIns="0" rIns="0" bIns="0" anchor="ctr"/>
      <a:lstStyle>
        <a:defPPr algn="ctr" defTabSz="838200">
          <a:defRPr sz="2000" dirty="0">
            <a:solidFill>
              <a:srgbClr val="FFFFFF"/>
            </a:solidFill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E4367"/>
        </a:dk2>
        <a:lt2>
          <a:srgbClr val="FFFFFF"/>
        </a:lt2>
        <a:accent1>
          <a:srgbClr val="D7DBDF"/>
        </a:accent1>
        <a:accent2>
          <a:srgbClr val="9DA7B1"/>
        </a:accent2>
        <a:accent3>
          <a:srgbClr val="156297"/>
        </a:accent3>
        <a:accent4>
          <a:srgbClr val="0E4367"/>
        </a:accent4>
        <a:accent5>
          <a:srgbClr val="4F5963"/>
        </a:accent5>
        <a:accent6>
          <a:srgbClr val="808080"/>
        </a:accent6>
        <a:hlink>
          <a:srgbClr val="156297"/>
        </a:hlink>
        <a:folHlink>
          <a:srgbClr val="0E43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ytilineos Template.potx" id="{6AD99F2E-79A4-4944-826B-11FBE989AF36}" vid="{4DA398F9-6DDC-4438-976B-4E3D4A4AC251}"/>
    </a:ext>
  </a:extLst>
</a:theme>
</file>

<file path=ppt/theme/theme3.xml><?xml version="1.0" encoding="utf-8"?>
<a:theme xmlns:a="http://schemas.openxmlformats.org/drawingml/2006/main" name="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30.xml><?xml version="1.0" encoding="utf-8"?>
<a:theme xmlns:a="http://schemas.openxmlformats.org/drawingml/2006/main" name="Nyrstar Online Image Templat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 EM Final Pages">
  <a:themeElements>
    <a:clrScheme name="Custom 3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FFFFFF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2A405F22-39E6-9A45-9510-2EE70568E429}"/>
    </a:ext>
  </a:extLst>
</a:theme>
</file>

<file path=ppt/theme/theme5.xml><?xml version="1.0" encoding="utf-8"?>
<a:theme xmlns:a="http://schemas.openxmlformats.org/drawingml/2006/main" name="1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6.xml><?xml version="1.0" encoding="utf-8"?>
<a:theme xmlns:a="http://schemas.openxmlformats.org/drawingml/2006/main" name="2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7.xml><?xml version="1.0" encoding="utf-8"?>
<a:theme xmlns:a="http://schemas.openxmlformats.org/drawingml/2006/main" name="Hydro theme">
  <a:themeElements>
    <a:clrScheme name="Custom 3">
      <a:dk1>
        <a:srgbClr val="000000"/>
      </a:dk1>
      <a:lt1>
        <a:sysClr val="window" lastClr="FFFFFF"/>
      </a:lt1>
      <a:dk2>
        <a:srgbClr val="999999"/>
      </a:dk2>
      <a:lt2>
        <a:srgbClr val="FFFFFF"/>
      </a:lt2>
      <a:accent1>
        <a:srgbClr val="99CC00"/>
      </a:accent1>
      <a:accent2>
        <a:srgbClr val="0099CC"/>
      </a:accent2>
      <a:accent3>
        <a:srgbClr val="660099"/>
      </a:accent3>
      <a:accent4>
        <a:srgbClr val="CC0000"/>
      </a:accent4>
      <a:accent5>
        <a:srgbClr val="FF6600"/>
      </a:accent5>
      <a:accent6>
        <a:srgbClr val="999966"/>
      </a:accent6>
      <a:hlink>
        <a:srgbClr val="0099CC"/>
      </a:hlink>
      <a:folHlink>
        <a:srgbClr val="000000"/>
      </a:folHlink>
    </a:clrScheme>
    <a:fontScheme name="Hydr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wrap="none" rtlCol="0" anchor="ctr"/>
      <a:lstStyle>
        <a:defPPr algn="ctr">
          <a:defRPr sz="1600" dirty="0">
            <a:latin typeface="Helvetica"/>
            <a:ea typeface="ＭＳ Ｐゴシック" charset="0"/>
            <a:cs typeface="Helvetica"/>
          </a:defRPr>
        </a:defPPr>
      </a:lstStyle>
    </a:spDef>
    <a:lnDef>
      <a:spPr>
        <a:ln w="3175">
          <a:solidFill>
            <a:schemeClr val="tx2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rmAutofit/>
      </a:bodyPr>
      <a:lstStyle>
        <a:defPPr defTabSz="914377">
          <a:spcBef>
            <a:spcPts val="700"/>
          </a:spcBef>
          <a:spcAft>
            <a:spcPts val="700"/>
          </a:spcAft>
          <a:buClr>
            <a:schemeClr val="tx2"/>
          </a:buClr>
          <a:buSzPct val="110000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Hydro widescreen template 2016 v4.pptx [Read-Only]" id="{AAFAEACA-0146-4FDC-9E8D-77D579B4D19B}" vid="{58007D98-D01E-4643-9E73-80D2155451CB}"/>
    </a:ext>
  </a:extLst>
</a:theme>
</file>

<file path=ppt/theme/theme8.xml><?xml version="1.0" encoding="utf-8"?>
<a:theme xmlns:a="http://schemas.openxmlformats.org/drawingml/2006/main" name="4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9.xml><?xml version="1.0" encoding="utf-8"?>
<a:theme xmlns:a="http://schemas.openxmlformats.org/drawingml/2006/main" name="6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Template" id="{FA4970F5-2329-4FDA-B1EC-43FA8751B8A8}" vid="{B879C290-426B-4F9B-9EFE-7B010731218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M Template V4</Template>
  <TotalTime>1609</TotalTime>
  <Words>807</Words>
  <Application>Microsoft Office PowerPoint</Application>
  <PresentationFormat>Widescreen</PresentationFormat>
  <Paragraphs>88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41" baseType="lpstr">
      <vt:lpstr>.AppleSystemUIFont</vt:lpstr>
      <vt:lpstr>Arial</vt:lpstr>
      <vt:lpstr>Calibri</vt:lpstr>
      <vt:lpstr>Helvetica</vt:lpstr>
      <vt:lpstr>Ivar Display Hydro</vt:lpstr>
      <vt:lpstr>Wingdings</vt:lpstr>
      <vt:lpstr>2 EM Standard Pages</vt:lpstr>
      <vt:lpstr>1 EM Cover Pages</vt:lpstr>
      <vt:lpstr>3 EM Chapter Pages</vt:lpstr>
      <vt:lpstr>4 EM Final Pages</vt:lpstr>
      <vt:lpstr>1_2 EM Standard Pages</vt:lpstr>
      <vt:lpstr>2_2 EM Standard Pages</vt:lpstr>
      <vt:lpstr>Hydro theme</vt:lpstr>
      <vt:lpstr>4_2 EM Standard Pages</vt:lpstr>
      <vt:lpstr>6_2 EM Standard Pages</vt:lpstr>
      <vt:lpstr>7_2 EM Standard Pages</vt:lpstr>
      <vt:lpstr>8_2 EM Standard Pages</vt:lpstr>
      <vt:lpstr>9_2 EM Standard Pages</vt:lpstr>
      <vt:lpstr>10_2 EM Standard Pages</vt:lpstr>
      <vt:lpstr>1_Hydro Theme</vt:lpstr>
      <vt:lpstr>12_2 EM Standard Pages</vt:lpstr>
      <vt:lpstr>14_2 EM Standard Pages</vt:lpstr>
      <vt:lpstr>1_4 EM Final Pages</vt:lpstr>
      <vt:lpstr>3_2 EM Standard Pages</vt:lpstr>
      <vt:lpstr>5_2 EM Standard Pages</vt:lpstr>
      <vt:lpstr>15_2 EM Standard Pages</vt:lpstr>
      <vt:lpstr>1_3 EM Chapter Pages</vt:lpstr>
      <vt:lpstr>2_3 EM Chapter Pages</vt:lpstr>
      <vt:lpstr>18_2 EM Standard Pages</vt:lpstr>
      <vt:lpstr>2_Hydro Theme</vt:lpstr>
      <vt:lpstr>21_2 EM Standard Pages</vt:lpstr>
      <vt:lpstr>22_2 EM Standard Pages</vt:lpstr>
      <vt:lpstr>23_2 EM Standard Pages</vt:lpstr>
      <vt:lpstr>3_3 EM Chapter Pages</vt:lpstr>
      <vt:lpstr>3_Mytilineos Template</vt:lpstr>
      <vt:lpstr>Nyrstar Online Image Templates</vt:lpstr>
      <vt:lpstr>think-cell Slide</vt:lpstr>
      <vt:lpstr>ERCST Roundtable, 11th March 2021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 Heron;odonoghue@eurometaux.be</dc:creator>
  <cp:lastModifiedBy>Cillian O'Donoghue</cp:lastModifiedBy>
  <cp:revision>860</cp:revision>
  <cp:lastPrinted>2021-03-11T08:58:52Z</cp:lastPrinted>
  <dcterms:created xsi:type="dcterms:W3CDTF">2017-02-20T15:08:30Z</dcterms:created>
  <dcterms:modified xsi:type="dcterms:W3CDTF">2021-03-11T12:35:16Z</dcterms:modified>
</cp:coreProperties>
</file>